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sldIdLst>
    <p:sldId id="421" r:id="rId2"/>
    <p:sldId id="401" r:id="rId3"/>
    <p:sldId id="402" r:id="rId4"/>
    <p:sldId id="403" r:id="rId5"/>
    <p:sldId id="417" r:id="rId6"/>
    <p:sldId id="406" r:id="rId7"/>
    <p:sldId id="407" r:id="rId8"/>
    <p:sldId id="416" r:id="rId9"/>
    <p:sldId id="428" r:id="rId10"/>
    <p:sldId id="429" r:id="rId11"/>
    <p:sldId id="409" r:id="rId12"/>
    <p:sldId id="408" r:id="rId13"/>
    <p:sldId id="410" r:id="rId14"/>
    <p:sldId id="431" r:id="rId15"/>
    <p:sldId id="412" r:id="rId16"/>
    <p:sldId id="413" r:id="rId17"/>
    <p:sldId id="414" r:id="rId18"/>
    <p:sldId id="422" r:id="rId19"/>
    <p:sldId id="425" r:id="rId20"/>
    <p:sldId id="426" r:id="rId21"/>
    <p:sldId id="427" r:id="rId22"/>
    <p:sldId id="424" r:id="rId23"/>
    <p:sldId id="423" r:id="rId24"/>
  </p:sldIdLst>
  <p:sldSz cx="9144000" cy="6858000" type="screen4x3"/>
  <p:notesSz cx="7023100" cy="93091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925700"/>
    <a:srgbClr val="CC7A00"/>
    <a:srgbClr val="14385C"/>
    <a:srgbClr val="899BAD"/>
    <a:srgbClr val="042A45"/>
    <a:srgbClr val="042A43"/>
    <a:srgbClr val="D27D00"/>
    <a:srgbClr val="25629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62" autoAdjust="0"/>
    <p:restoredTop sz="93606" autoAdjust="0"/>
  </p:normalViewPr>
  <p:slideViewPr>
    <p:cSldViewPr showGuides="1">
      <p:cViewPr>
        <p:scale>
          <a:sx n="78" d="100"/>
          <a:sy n="78" d="100"/>
        </p:scale>
        <p:origin x="-2286" y="-684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4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'C:\Users\CMAYS\AppData\Local\Microsoft\Windows\Temporary Internet Files\Content.Outlook\JD80ZE1E\[TX_2000_2015Truck_POV.xlsx]Truck and POV-All'!$A$3</c:f>
              <c:strCache>
                <c:ptCount val="1"/>
                <c:pt idx="0">
                  <c:v>Veterans International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3:$L$3</c:f>
              <c:numCache>
                <c:formatCode>General</c:formatCode>
                <c:ptCount val="11"/>
                <c:pt idx="0">
                  <c:v>192060</c:v>
                </c:pt>
                <c:pt idx="1">
                  <c:v>201795</c:v>
                </c:pt>
                <c:pt idx="2">
                  <c:v>199803</c:v>
                </c:pt>
                <c:pt idx="3">
                  <c:v>186248</c:v>
                </c:pt>
                <c:pt idx="4">
                  <c:v>160827</c:v>
                </c:pt>
                <c:pt idx="5">
                  <c:v>177688</c:v>
                </c:pt>
                <c:pt idx="6">
                  <c:v>177986</c:v>
                </c:pt>
                <c:pt idx="7">
                  <c:v>190204</c:v>
                </c:pt>
                <c:pt idx="8">
                  <c:v>177008</c:v>
                </c:pt>
                <c:pt idx="9">
                  <c:v>178364</c:v>
                </c:pt>
                <c:pt idx="10">
                  <c:v>180664</c:v>
                </c:pt>
              </c:numCache>
            </c:numRef>
          </c:val>
          <c:smooth val="0"/>
        </c:ser>
        <c:ser>
          <c:idx val="2"/>
          <c:order val="1"/>
          <c:tx>
            <c:strRef>
              <c:f>'C:\Users\CMAYS\AppData\Local\Microsoft\Windows\Temporary Internet Files\Content.Outlook\JD80ZE1E\[TX_2000_2015Truck_POV.xlsx]Truck and POV-All'!$A$4</c:f>
              <c:strCache>
                <c:ptCount val="1"/>
                <c:pt idx="0">
                  <c:v>Free Trade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4:$L$4</c:f>
              <c:numCache>
                <c:formatCode>General</c:formatCode>
                <c:ptCount val="11"/>
                <c:pt idx="0">
                  <c:v>42580</c:v>
                </c:pt>
                <c:pt idx="1">
                  <c:v>41681</c:v>
                </c:pt>
                <c:pt idx="2">
                  <c:v>39220</c:v>
                </c:pt>
                <c:pt idx="3">
                  <c:v>36068</c:v>
                </c:pt>
                <c:pt idx="4">
                  <c:v>28761</c:v>
                </c:pt>
                <c:pt idx="5">
                  <c:v>29721</c:v>
                </c:pt>
                <c:pt idx="6">
                  <c:v>30773</c:v>
                </c:pt>
                <c:pt idx="7">
                  <c:v>27300</c:v>
                </c:pt>
                <c:pt idx="8">
                  <c:v>31140</c:v>
                </c:pt>
                <c:pt idx="9">
                  <c:v>30625</c:v>
                </c:pt>
                <c:pt idx="10">
                  <c:v>23746</c:v>
                </c:pt>
              </c:numCache>
            </c:numRef>
          </c:val>
          <c:smooth val="0"/>
        </c:ser>
        <c:ser>
          <c:idx val="3"/>
          <c:order val="2"/>
          <c:tx>
            <c:strRef>
              <c:f>'C:\Users\CMAYS\AppData\Local\Microsoft\Windows\Temporary Internet Files\Content.Outlook\JD80ZE1E\[TX_2000_2015Truck_POV.xlsx]Truck and POV-All'!$A$5</c:f>
              <c:strCache>
                <c:ptCount val="1"/>
                <c:pt idx="0">
                  <c:v>Progreso International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5:$L$5</c:f>
              <c:numCache>
                <c:formatCode>General</c:formatCode>
                <c:ptCount val="11"/>
                <c:pt idx="0">
                  <c:v>23807</c:v>
                </c:pt>
                <c:pt idx="1">
                  <c:v>31533</c:v>
                </c:pt>
                <c:pt idx="2">
                  <c:v>40796</c:v>
                </c:pt>
                <c:pt idx="3">
                  <c:v>44440</c:v>
                </c:pt>
                <c:pt idx="4">
                  <c:v>45980</c:v>
                </c:pt>
                <c:pt idx="5">
                  <c:v>43327</c:v>
                </c:pt>
                <c:pt idx="6">
                  <c:v>42605</c:v>
                </c:pt>
                <c:pt idx="7">
                  <c:v>44300</c:v>
                </c:pt>
                <c:pt idx="8">
                  <c:v>42761</c:v>
                </c:pt>
                <c:pt idx="9">
                  <c:v>41416</c:v>
                </c:pt>
                <c:pt idx="10">
                  <c:v>36940</c:v>
                </c:pt>
              </c:numCache>
            </c:numRef>
          </c:val>
          <c:smooth val="0"/>
        </c:ser>
        <c:ser>
          <c:idx val="4"/>
          <c:order val="3"/>
          <c:tx>
            <c:strRef>
              <c:f>'C:\Users\CMAYS\AppData\Local\Microsoft\Windows\Temporary Internet Files\Content.Outlook\JD80ZE1E\[TX_2000_2015Truck_POV.xlsx]Truck and POV-All'!$A$6</c:f>
              <c:strCache>
                <c:ptCount val="1"/>
                <c:pt idx="0">
                  <c:v>Pharr-Reynosa Intl. Bridge on the Ris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6:$L$6</c:f>
              <c:numCache>
                <c:formatCode>General</c:formatCode>
                <c:ptCount val="11"/>
                <c:pt idx="0">
                  <c:v>483889</c:v>
                </c:pt>
                <c:pt idx="1">
                  <c:v>457825</c:v>
                </c:pt>
                <c:pt idx="2">
                  <c:v>486756</c:v>
                </c:pt>
                <c:pt idx="3">
                  <c:v>476000</c:v>
                </c:pt>
                <c:pt idx="4">
                  <c:v>419426</c:v>
                </c:pt>
                <c:pt idx="5">
                  <c:v>459330</c:v>
                </c:pt>
                <c:pt idx="6">
                  <c:v>452821</c:v>
                </c:pt>
                <c:pt idx="7">
                  <c:v>479530</c:v>
                </c:pt>
                <c:pt idx="8">
                  <c:v>510706</c:v>
                </c:pt>
                <c:pt idx="9">
                  <c:v>530093</c:v>
                </c:pt>
                <c:pt idx="10">
                  <c:v>546259</c:v>
                </c:pt>
              </c:numCache>
            </c:numRef>
          </c:val>
          <c:smooth val="0"/>
        </c:ser>
        <c:ser>
          <c:idx val="5"/>
          <c:order val="4"/>
          <c:tx>
            <c:strRef>
              <c:f>'C:\Users\CMAYS\AppData\Local\Microsoft\Windows\Temporary Internet Files\Content.Outlook\JD80ZE1E\[TX_2000_2015Truck_POV.xlsx]Truck and POV-All'!$A$7</c:f>
              <c:strCache>
                <c:ptCount val="1"/>
                <c:pt idx="0">
                  <c:v>Rio Grande City-Camargo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7:$L$7</c:f>
              <c:numCache>
                <c:formatCode>General</c:formatCode>
                <c:ptCount val="11"/>
                <c:pt idx="0">
                  <c:v>46308</c:v>
                </c:pt>
                <c:pt idx="1">
                  <c:v>43199</c:v>
                </c:pt>
                <c:pt idx="2">
                  <c:v>34263</c:v>
                </c:pt>
                <c:pt idx="3">
                  <c:v>30461</c:v>
                </c:pt>
                <c:pt idx="4">
                  <c:v>26597</c:v>
                </c:pt>
                <c:pt idx="5">
                  <c:v>21503</c:v>
                </c:pt>
                <c:pt idx="6">
                  <c:v>24398</c:v>
                </c:pt>
                <c:pt idx="7">
                  <c:v>29160</c:v>
                </c:pt>
                <c:pt idx="8">
                  <c:v>27120</c:v>
                </c:pt>
                <c:pt idx="9">
                  <c:v>32459</c:v>
                </c:pt>
                <c:pt idx="10">
                  <c:v>30890</c:v>
                </c:pt>
              </c:numCache>
            </c:numRef>
          </c:val>
          <c:smooth val="0"/>
        </c:ser>
        <c:ser>
          <c:idx val="6"/>
          <c:order val="5"/>
          <c:tx>
            <c:strRef>
              <c:f>'C:\Users\CMAYS\AppData\Local\Microsoft\Windows\Temporary Internet Files\Content.Outlook\JD80ZE1E\[TX_2000_2015Truck_POV.xlsx]Truck and POV-All'!$A$8</c:f>
              <c:strCache>
                <c:ptCount val="1"/>
                <c:pt idx="0">
                  <c:v>Roma-Ciudad Miguel Aleman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8:$L$8</c:f>
              <c:numCache>
                <c:formatCode>General</c:formatCode>
                <c:ptCount val="11"/>
                <c:pt idx="0">
                  <c:v>8269</c:v>
                </c:pt>
                <c:pt idx="1">
                  <c:v>8467</c:v>
                </c:pt>
                <c:pt idx="2">
                  <c:v>8050</c:v>
                </c:pt>
                <c:pt idx="3">
                  <c:v>7535</c:v>
                </c:pt>
                <c:pt idx="4">
                  <c:v>6894</c:v>
                </c:pt>
                <c:pt idx="5">
                  <c:v>6417</c:v>
                </c:pt>
                <c:pt idx="6">
                  <c:v>6938</c:v>
                </c:pt>
                <c:pt idx="7">
                  <c:v>7130</c:v>
                </c:pt>
                <c:pt idx="8">
                  <c:v>7479</c:v>
                </c:pt>
                <c:pt idx="9">
                  <c:v>7556</c:v>
                </c:pt>
                <c:pt idx="10">
                  <c:v>7870</c:v>
                </c:pt>
              </c:numCache>
            </c:numRef>
          </c:val>
          <c:smooth val="0"/>
        </c:ser>
        <c:ser>
          <c:idx val="7"/>
          <c:order val="6"/>
          <c:tx>
            <c:strRef>
              <c:f>'C:\Users\CMAYS\AppData\Local\Microsoft\Windows\Temporary Internet Files\Content.Outlook\JD80ZE1E\[TX_2000_2015Truck_POV.xlsx]Truck and POV-All'!$A$9</c:f>
              <c:strCache>
                <c:ptCount val="1"/>
                <c:pt idx="0">
                  <c:v>Lake Falcon Dam Crossing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9:$L$9</c:f>
              <c:numCache>
                <c:formatCode>General</c:formatCode>
                <c:ptCount val="11"/>
                <c:pt idx="0">
                  <c:v>76</c:v>
                </c:pt>
                <c:pt idx="1">
                  <c:v>35</c:v>
                </c:pt>
                <c:pt idx="2">
                  <c:v>16</c:v>
                </c:pt>
                <c:pt idx="3">
                  <c:v>38</c:v>
                </c:pt>
                <c:pt idx="4">
                  <c:v>1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</c:numCache>
            </c:numRef>
          </c:val>
          <c:smooth val="0"/>
        </c:ser>
        <c:ser>
          <c:idx val="8"/>
          <c:order val="7"/>
          <c:tx>
            <c:strRef>
              <c:f>'C:\Users\CMAYS\AppData\Local\Microsoft\Windows\Temporary Internet Files\Content.Outlook\JD80ZE1E\[TX_2000_2015Truck_POV.xlsx]Truck and POV-All'!$A$10</c:f>
              <c:strCache>
                <c:ptCount val="1"/>
                <c:pt idx="0">
                  <c:v>World Trade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10:$L$10</c:f>
              <c:numCache>
                <c:formatCode>General</c:formatCode>
                <c:ptCount val="11"/>
                <c:pt idx="0">
                  <c:v>1144908</c:v>
                </c:pt>
                <c:pt idx="1">
                  <c:v>1111369</c:v>
                </c:pt>
                <c:pt idx="2">
                  <c:v>1118236</c:v>
                </c:pt>
                <c:pt idx="3">
                  <c:v>1162500</c:v>
                </c:pt>
                <c:pt idx="4">
                  <c:v>1091035</c:v>
                </c:pt>
                <c:pt idx="5">
                  <c:v>1240139</c:v>
                </c:pt>
                <c:pt idx="6">
                  <c:v>1327479</c:v>
                </c:pt>
                <c:pt idx="7">
                  <c:v>1399068</c:v>
                </c:pt>
                <c:pt idx="8">
                  <c:v>1480391</c:v>
                </c:pt>
                <c:pt idx="9">
                  <c:v>1575583</c:v>
                </c:pt>
                <c:pt idx="10">
                  <c:v>1658949</c:v>
                </c:pt>
              </c:numCache>
            </c:numRef>
          </c:val>
          <c:smooth val="0"/>
        </c:ser>
        <c:ser>
          <c:idx val="9"/>
          <c:order val="8"/>
          <c:tx>
            <c:strRef>
              <c:f>'C:\Users\CMAYS\AppData\Local\Microsoft\Windows\Temporary Internet Files\Content.Outlook\JD80ZE1E\[TX_2000_2015Truck_POV.xlsx]Truck and POV-All'!$A$11</c:f>
              <c:strCache>
                <c:ptCount val="1"/>
                <c:pt idx="0">
                  <c:v>Laredo-Colombia Solidarity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11:$L$11</c:f>
              <c:numCache>
                <c:formatCode>General</c:formatCode>
                <c:ptCount val="11"/>
                <c:pt idx="0">
                  <c:v>310699</c:v>
                </c:pt>
                <c:pt idx="1">
                  <c:v>407620</c:v>
                </c:pt>
                <c:pt idx="2">
                  <c:v>445600</c:v>
                </c:pt>
                <c:pt idx="3">
                  <c:v>392697</c:v>
                </c:pt>
                <c:pt idx="4">
                  <c:v>291284</c:v>
                </c:pt>
                <c:pt idx="5">
                  <c:v>344911</c:v>
                </c:pt>
                <c:pt idx="6">
                  <c:v>374781</c:v>
                </c:pt>
                <c:pt idx="7">
                  <c:v>382401</c:v>
                </c:pt>
                <c:pt idx="8">
                  <c:v>345831</c:v>
                </c:pt>
                <c:pt idx="9">
                  <c:v>373263</c:v>
                </c:pt>
                <c:pt idx="10">
                  <c:v>356824</c:v>
                </c:pt>
              </c:numCache>
            </c:numRef>
          </c:val>
          <c:smooth val="0"/>
        </c:ser>
        <c:ser>
          <c:idx val="10"/>
          <c:order val="9"/>
          <c:tx>
            <c:strRef>
              <c:f>'C:\Users\CMAYS\AppData\Local\Microsoft\Windows\Temporary Internet Files\Content.Outlook\JD80ZE1E\[TX_2000_2015Truck_POV.xlsx]Truck and POV-All'!$A$12</c:f>
              <c:strCache>
                <c:ptCount val="1"/>
                <c:pt idx="0">
                  <c:v>Camino Real International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12:$L$12</c:f>
              <c:numCache>
                <c:formatCode>General</c:formatCode>
                <c:ptCount val="11"/>
                <c:pt idx="0">
                  <c:v>97729</c:v>
                </c:pt>
                <c:pt idx="1">
                  <c:v>97567</c:v>
                </c:pt>
                <c:pt idx="2">
                  <c:v>100227</c:v>
                </c:pt>
                <c:pt idx="3">
                  <c:v>101991</c:v>
                </c:pt>
                <c:pt idx="4">
                  <c:v>83254</c:v>
                </c:pt>
                <c:pt idx="5">
                  <c:v>95028</c:v>
                </c:pt>
                <c:pt idx="6">
                  <c:v>106423</c:v>
                </c:pt>
                <c:pt idx="7">
                  <c:v>116843</c:v>
                </c:pt>
                <c:pt idx="8">
                  <c:v>118388</c:v>
                </c:pt>
                <c:pt idx="9">
                  <c:v>136506</c:v>
                </c:pt>
                <c:pt idx="10">
                  <c:v>141592</c:v>
                </c:pt>
              </c:numCache>
            </c:numRef>
          </c:val>
          <c:smooth val="0"/>
        </c:ser>
        <c:ser>
          <c:idx val="11"/>
          <c:order val="10"/>
          <c:tx>
            <c:strRef>
              <c:f>'C:\Users\CMAYS\AppData\Local\Microsoft\Windows\Temporary Internet Files\Content.Outlook\JD80ZE1E\[TX_2000_2015Truck_POV.xlsx]Truck and POV-All'!$A$13</c:f>
              <c:strCache>
                <c:ptCount val="1"/>
                <c:pt idx="0">
                  <c:v>Del Rio-Ciudad Acuna Intl.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13:$L$13</c:f>
              <c:numCache>
                <c:formatCode>General</c:formatCode>
                <c:ptCount val="11"/>
                <c:pt idx="0">
                  <c:v>64075</c:v>
                </c:pt>
                <c:pt idx="1">
                  <c:v>65487</c:v>
                </c:pt>
                <c:pt idx="2">
                  <c:v>63460</c:v>
                </c:pt>
                <c:pt idx="3">
                  <c:v>57182</c:v>
                </c:pt>
                <c:pt idx="4">
                  <c:v>49600</c:v>
                </c:pt>
                <c:pt idx="5">
                  <c:v>55852</c:v>
                </c:pt>
                <c:pt idx="6">
                  <c:v>62966</c:v>
                </c:pt>
                <c:pt idx="7">
                  <c:v>65210</c:v>
                </c:pt>
                <c:pt idx="8">
                  <c:v>67718</c:v>
                </c:pt>
                <c:pt idx="9">
                  <c:v>69048</c:v>
                </c:pt>
                <c:pt idx="10">
                  <c:v>70009</c:v>
                </c:pt>
              </c:numCache>
            </c:numRef>
          </c:val>
          <c:smooth val="0"/>
        </c:ser>
        <c:ser>
          <c:idx val="12"/>
          <c:order val="11"/>
          <c:tx>
            <c:strRef>
              <c:f>'C:\Users\CMAYS\AppData\Local\Microsoft\Windows\Temporary Internet Files\Content.Outlook\JD80ZE1E\[TX_2000_2015Truck_POV.xlsx]Truck and POV-All'!$A$14</c:f>
              <c:strCache>
                <c:ptCount val="1"/>
                <c:pt idx="0">
                  <c:v>Presidio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14:$L$14</c:f>
              <c:numCache>
                <c:formatCode>General</c:formatCode>
                <c:ptCount val="11"/>
                <c:pt idx="0">
                  <c:v>5763</c:v>
                </c:pt>
                <c:pt idx="1">
                  <c:v>6306</c:v>
                </c:pt>
                <c:pt idx="2">
                  <c:v>7137</c:v>
                </c:pt>
                <c:pt idx="3">
                  <c:v>6197</c:v>
                </c:pt>
                <c:pt idx="4">
                  <c:v>7040</c:v>
                </c:pt>
                <c:pt idx="5">
                  <c:v>9298</c:v>
                </c:pt>
                <c:pt idx="6">
                  <c:v>8612</c:v>
                </c:pt>
                <c:pt idx="7">
                  <c:v>11286</c:v>
                </c:pt>
                <c:pt idx="8">
                  <c:v>9714</c:v>
                </c:pt>
                <c:pt idx="9">
                  <c:v>10588</c:v>
                </c:pt>
                <c:pt idx="10">
                  <c:v>8827</c:v>
                </c:pt>
              </c:numCache>
            </c:numRef>
          </c:val>
          <c:smooth val="0"/>
        </c:ser>
        <c:ser>
          <c:idx val="13"/>
          <c:order val="12"/>
          <c:tx>
            <c:strRef>
              <c:f>'C:\Users\CMAYS\AppData\Local\Microsoft\Windows\Temporary Internet Files\Content.Outlook\JD80ZE1E\[TX_2000_2015Truck_POV.xlsx]Truck and POV-All'!$A$15</c:f>
              <c:strCache>
                <c:ptCount val="1"/>
                <c:pt idx="0">
                  <c:v>Ysleta-Zaragoza Bridge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15:$L$15</c:f>
              <c:numCache>
                <c:formatCode>General</c:formatCode>
                <c:ptCount val="11"/>
                <c:pt idx="0">
                  <c:v>347212</c:v>
                </c:pt>
                <c:pt idx="1">
                  <c:v>387360</c:v>
                </c:pt>
                <c:pt idx="2">
                  <c:v>383886</c:v>
                </c:pt>
                <c:pt idx="3">
                  <c:v>344300</c:v>
                </c:pt>
                <c:pt idx="4">
                  <c:v>315947</c:v>
                </c:pt>
                <c:pt idx="5">
                  <c:v>386139</c:v>
                </c:pt>
                <c:pt idx="6">
                  <c:v>379508</c:v>
                </c:pt>
                <c:pt idx="7">
                  <c:v>409930</c:v>
                </c:pt>
                <c:pt idx="8">
                  <c:v>422059</c:v>
                </c:pt>
                <c:pt idx="9">
                  <c:v>438294</c:v>
                </c:pt>
                <c:pt idx="10">
                  <c:v>261272</c:v>
                </c:pt>
              </c:numCache>
            </c:numRef>
          </c:val>
          <c:smooth val="0"/>
        </c:ser>
        <c:ser>
          <c:idx val="14"/>
          <c:order val="13"/>
          <c:tx>
            <c:strRef>
              <c:f>'C:\Users\CMAYS\AppData\Local\Microsoft\Windows\Temporary Internet Files\Content.Outlook\JD80ZE1E\[TX_2000_2015Truck_POV.xlsx]Truck and POV-All'!$A$16</c:f>
              <c:strCache>
                <c:ptCount val="1"/>
                <c:pt idx="0">
                  <c:v>Bridge of the Americas</c:v>
                </c:pt>
              </c:strCache>
            </c:strRef>
          </c:tx>
          <c:marker>
            <c:symbol val="none"/>
          </c:marker>
          <c:cat>
            <c:numRef>
              <c:f>'C:\Users\CMAYS\AppData\Local\Microsoft\Windows\Temporary Internet Files\Content.Outlook\JD80ZE1E\[TX_2000_2015Truck_POV.xlsx]Truck and POV-All'!$B$2:$L$2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'C:\Users\CMAYS\AppData\Local\Microsoft\Windows\Temporary Internet Files\Content.Outlook\JD80ZE1E\[TX_2000_2015Truck_POV.xlsx]Truck and POV-All'!$B$16:$L$16</c:f>
              <c:numCache>
                <c:formatCode>General</c:formatCode>
                <c:ptCount val="11"/>
                <c:pt idx="0">
                  <c:v>393442</c:v>
                </c:pt>
                <c:pt idx="1">
                  <c:v>387281</c:v>
                </c:pt>
                <c:pt idx="2">
                  <c:v>398483</c:v>
                </c:pt>
                <c:pt idx="3">
                  <c:v>414556</c:v>
                </c:pt>
                <c:pt idx="4">
                  <c:v>316731</c:v>
                </c:pt>
                <c:pt idx="5">
                  <c:v>321721</c:v>
                </c:pt>
                <c:pt idx="6">
                  <c:v>337609</c:v>
                </c:pt>
                <c:pt idx="7">
                  <c:v>314730</c:v>
                </c:pt>
                <c:pt idx="8">
                  <c:v>316510</c:v>
                </c:pt>
                <c:pt idx="9">
                  <c:v>313070</c:v>
                </c:pt>
                <c:pt idx="10">
                  <c:v>49677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3053696"/>
        <c:axId val="73055232"/>
      </c:lineChart>
      <c:catAx>
        <c:axId val="730536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73055232"/>
        <c:crosses val="autoZero"/>
        <c:auto val="1"/>
        <c:lblAlgn val="ctr"/>
        <c:lblOffset val="100"/>
        <c:noMultiLvlLbl val="0"/>
      </c:catAx>
      <c:valAx>
        <c:axId val="7305523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73053696"/>
        <c:crosses val="autoZero"/>
        <c:crossBetween val="between"/>
        <c:majorUnit val="100000"/>
      </c:valAx>
      <c:spPr>
        <a:gradFill>
          <a:gsLst>
            <a:gs pos="0">
              <a:srgbClr val="FFEFD1"/>
            </a:gs>
            <a:gs pos="95000">
              <a:srgbClr val="F0EBD5">
                <a:alpha val="48000"/>
              </a:srgbClr>
            </a:gs>
            <a:gs pos="100000">
              <a:srgbClr val="D1C39F"/>
            </a:gs>
          </a:gsLst>
          <a:lin ang="5400000" scaled="0"/>
        </a:gradFill>
      </c:spPr>
    </c:plotArea>
    <c:legend>
      <c:legendPos val="r"/>
      <c:layout/>
      <c:overlay val="0"/>
    </c:legend>
    <c:plotVisOnly val="1"/>
    <c:dispBlanksAs val="gap"/>
    <c:showDLblsOverMax val="0"/>
  </c:chart>
  <c:spPr>
    <a:gradFill>
      <a:gsLst>
        <a:gs pos="0">
          <a:srgbClr val="FFEFD1"/>
        </a:gs>
        <a:gs pos="95000">
          <a:srgbClr val="F0EBD5">
            <a:alpha val="48000"/>
          </a:srgbClr>
        </a:gs>
        <a:gs pos="100000">
          <a:srgbClr val="D1C39F"/>
        </a:gs>
      </a:gsLst>
      <a:lin ang="5400000" scaled="0"/>
    </a:gradFill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1" y="0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8/24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6913"/>
            <a:ext cx="4654550" cy="34909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59" tIns="46830" rIns="93659" bIns="4683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659" tIns="46830" rIns="93659" bIns="4683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1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1" y="8842031"/>
            <a:ext cx="3043343" cy="465455"/>
          </a:xfrm>
          <a:prstGeom prst="rect">
            <a:avLst/>
          </a:prstGeom>
        </p:spPr>
        <p:txBody>
          <a:bodyPr vert="horz" lIns="93659" tIns="46830" rIns="93659" bIns="46830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exas has more border crossings and a longer border than any other southern border state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8935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>
                <a:latin typeface="Franklin Gothic Book" panose="020B0503020102020204" pitchFamily="34" charset="0"/>
              </a:rPr>
              <a:t>In 2014, approximately 2 billion tons of freight moved by all modes in, out, through and within Texas and highways accounted for 1 billion tons. </a:t>
            </a:r>
          </a:p>
          <a:p>
            <a:endParaRPr lang="en-US" sz="1400" dirty="0">
              <a:latin typeface="Franklin Gothic Book" panose="020B0503020102020204" pitchFamily="34" charset="0"/>
            </a:endParaRPr>
          </a:p>
          <a:p>
            <a:r>
              <a:rPr lang="en-US" sz="1400" dirty="0">
                <a:latin typeface="Franklin Gothic Book" panose="020B0503020102020204" pitchFamily="34" charset="0"/>
              </a:rPr>
              <a:t>By 2040, we expect to see a significant increase in truck freight volumes on the Texas highway system.  The amount of freight transported by truck on our highway system is anticipated to double from 1 billion tons in 2014 to approximately 2.2 billion tons in 2040, over a 110% increase.  </a:t>
            </a:r>
          </a:p>
          <a:p>
            <a:endParaRPr lang="en-US" sz="1400" dirty="0">
              <a:latin typeface="Franklin Gothic Book" panose="020B0503020102020204" pitchFamily="34" charset="0"/>
            </a:endParaRPr>
          </a:p>
          <a:p>
            <a:r>
              <a:rPr lang="en-US" sz="1400" dirty="0">
                <a:latin typeface="Franklin Gothic Book" panose="020B0503020102020204" pitchFamily="34" charset="0"/>
              </a:rPr>
              <a:t>You can see from the dark red and brown areas on the graphic where we expect to see the most volume.  All the Interstate corridors will experience an increase.</a:t>
            </a:r>
          </a:p>
          <a:p>
            <a:endParaRPr lang="en-US" sz="1400" dirty="0">
              <a:latin typeface="Franklin Gothic Book" panose="020B05030201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DFE671E-0105-40AF-A4DD-929172D79273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6349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 txBox="1">
            <a:spLocks noGrp="1" noChangeArrowheads="1"/>
          </p:cNvSpPr>
          <p:nvPr/>
        </p:nvSpPr>
        <p:spPr bwMode="auto">
          <a:xfrm>
            <a:off x="3978583" y="8841082"/>
            <a:ext cx="3042915" cy="466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338" tIns="46169" rIns="92338" bIns="46169" anchor="b"/>
          <a:lstStyle>
            <a:lvl1pPr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9pPr>
          </a:lstStyle>
          <a:p>
            <a:pPr algn="r"/>
            <a:fld id="{8838B658-C83F-47CA-A531-1C575757ABAC}" type="slidenum">
              <a:rPr lang="en-US" altLang="en-US" sz="1200" b="0">
                <a:latin typeface="Times" pitchFamily="18" charset="0"/>
                <a:ea typeface="ヒラギノ角ゴ Pro W3"/>
                <a:cs typeface="ヒラギノ角ゴ Pro W3"/>
              </a:rPr>
              <a:pPr algn="r"/>
              <a:t>15</a:t>
            </a:fld>
            <a:endParaRPr lang="en-US" altLang="en-US" sz="1200" b="0" dirty="0">
              <a:latin typeface="Times" pitchFamily="18" charset="0"/>
              <a:ea typeface="ヒラギノ角ゴ Pro W3"/>
              <a:cs typeface="ヒラギノ角ゴ Pro W3"/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7450" y="696913"/>
            <a:ext cx="4649788" cy="3489325"/>
          </a:xfrm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2953" y="4422146"/>
            <a:ext cx="5617197" cy="418973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338" tIns="46169" rIns="92338" bIns="46169"/>
          <a:lstStyle/>
          <a:p>
            <a:pPr eaLnBrk="1" hangingPunct="1"/>
            <a:endParaRPr lang="es-MX" altLang="en-US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2" defTabSz="932992">
              <a:defRPr/>
            </a:pPr>
            <a:r>
              <a:rPr lang="en-US" sz="2000" dirty="0">
                <a:solidFill>
                  <a:schemeClr val="bg1"/>
                </a:solidFill>
                <a:latin typeface="Franklin Gothic Medium" panose="020B0603020102020204" pitchFamily="34" charset="0"/>
              </a:rPr>
              <a:t>Lack of infrastructure and staffing at existing bridges where traffic from Mexico crosses, which results in delays as train stops to wait for inspections</a:t>
            </a:r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92888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85000" lnSpcReduction="20000"/>
          </a:bodyPr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FE16FB-485D-4AB2-ADBB-41ED08C8491C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90236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31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FE16FB-485D-4AB2-ADBB-41ED08C8491C}" type="slidenum">
              <a:rPr lang="en-US" smtClean="0"/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FE16FB-485D-4AB2-ADBB-41ED08C8491C}" type="slidenum">
              <a:rPr lang="en-US" smtClean="0"/>
              <a:t>21</a:t>
            </a:fld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“One Texas, One Border, Many Challenges”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FE16FB-485D-4AB2-ADBB-41ED08C8491C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20647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84275" y="696913"/>
            <a:ext cx="4654550" cy="349091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06B703F-7105-480B-938A-D930CBCD49D5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2992">
              <a:defRPr/>
            </a:pPr>
            <a:r>
              <a:rPr lang="en-US" dirty="0" smtClean="0"/>
              <a:t>Texas has 29 Border/POEs</a:t>
            </a:r>
            <a:r>
              <a:rPr lang="en-US" baseline="0" dirty="0" smtClean="0"/>
              <a:t> and 13 are Commerci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FE16FB-485D-4AB2-ADBB-41ED08C8491C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222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39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  <a:lvl2pPr marL="751020" indent="-288853" defTabSz="9339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2pPr>
            <a:lvl3pPr marL="1155417" indent="-231084" defTabSz="9339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3pPr>
            <a:lvl4pPr marL="1617584" indent="-231084" defTabSz="9339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4pPr>
            <a:lvl5pPr marL="2079750" indent="-231084" defTabSz="93396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Times New Roman" pitchFamily="18" charset="0"/>
              </a:defRPr>
            </a:lvl5pPr>
            <a:lvl6pPr marL="2541918" indent="-231084" defTabSz="93396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6pPr>
            <a:lvl7pPr marL="3004083" indent="-231084" defTabSz="93396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7pPr>
            <a:lvl8pPr marL="3466250" indent="-231084" defTabSz="93396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8pPr>
            <a:lvl9pPr marL="3928416" indent="-231084" defTabSz="933962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0"/>
              </a:spcBef>
            </a:pPr>
            <a:fld id="{51EC6D52-B740-4005-8744-06858726833F}" type="slidenum">
              <a:rPr lang="en-US" altLang="en-US" smtClean="0"/>
              <a:pPr>
                <a:spcBef>
                  <a:spcPct val="0"/>
                </a:spcBef>
              </a:pPr>
              <a:t>5</a:t>
            </a:fld>
            <a:endParaRPr lang="en-US" altLang="en-US" dirty="0" smtClean="0"/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4275" y="698500"/>
            <a:ext cx="4654550" cy="3490913"/>
          </a:xfrm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3593" y="4422461"/>
            <a:ext cx="6698663" cy="4657729"/>
          </a:xfrm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/>
          <a:p>
            <a:pPr lvl="1"/>
            <a:r>
              <a:rPr lang="en-US" dirty="0"/>
              <a:t>Trade with Mexico is a major part of the Texas economy (Figure showing Texas-Mexico trade)</a:t>
            </a:r>
          </a:p>
          <a:p>
            <a:pPr lvl="2"/>
            <a:r>
              <a:rPr lang="en-US" dirty="0"/>
              <a:t>It creates a significant number of jobs in Texas (Data showing number of trade-related jobs supported by Texas)</a:t>
            </a:r>
          </a:p>
          <a:p>
            <a:pPr lvl="2"/>
            <a:r>
              <a:rPr lang="en-US" dirty="0"/>
              <a:t>Its benefits are experienced throughout the state, not just the border region – Figure showing Mexico export trade with select Texas MSAs)</a:t>
            </a:r>
          </a:p>
          <a:p>
            <a:pPr marL="462167" lvl="1" defTabSz="924333">
              <a:defRPr/>
            </a:pPr>
            <a:r>
              <a:rPr lang="en-US" dirty="0"/>
              <a:t>It diversifies our state’s economy and it is one of the reasons that it continues to grow – Look for statistics showing trade’s share of the Texas economy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2484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Header Placeholder 6"/>
          <p:cNvSpPr>
            <a:spLocks noGrp="1"/>
          </p:cNvSpPr>
          <p:nvPr>
            <p:ph type="hdr" sz="quarter" idx="13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78935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6367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4275" y="696913"/>
            <a:ext cx="4654550" cy="34909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56367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 txBox="1">
            <a:spLocks noGrp="1" noChangeArrowheads="1"/>
          </p:cNvSpPr>
          <p:nvPr/>
        </p:nvSpPr>
        <p:spPr bwMode="auto">
          <a:xfrm>
            <a:off x="3978581" y="8841081"/>
            <a:ext cx="3042915" cy="466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364" tIns="46182" rIns="92364" bIns="46182" anchor="b"/>
          <a:lstStyle>
            <a:lvl1pPr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9pPr>
          </a:lstStyle>
          <a:p>
            <a:pPr algn="r"/>
            <a:fld id="{3103B516-043E-4839-8DD1-0CBDCB56C26D}" type="slidenum">
              <a:rPr lang="en-US" altLang="en-US" sz="1300" b="0">
                <a:latin typeface="Times" pitchFamily="18" charset="0"/>
                <a:ea typeface="ヒラギノ角ゴ Pro W3"/>
                <a:cs typeface="ヒラギノ角ゴ Pro W3"/>
              </a:rPr>
              <a:pPr algn="r"/>
              <a:t>10</a:t>
            </a:fld>
            <a:endParaRPr lang="en-US" altLang="en-US" sz="1300" b="0" dirty="0">
              <a:latin typeface="Times" pitchFamily="18" charset="0"/>
              <a:ea typeface="ヒラギノ角ゴ Pro W3"/>
              <a:cs typeface="ヒラギノ角ゴ Pro W3"/>
            </a:endParaRPr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4275" y="696913"/>
            <a:ext cx="4654550" cy="3490912"/>
          </a:xfrm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02953" y="4422145"/>
            <a:ext cx="5617196" cy="418973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364" tIns="46182" rIns="92364" bIns="46182"/>
          <a:lstStyle/>
          <a:p>
            <a:pPr eaLnBrk="1" hangingPunct="1"/>
            <a:endParaRPr lang="es-MX" altLang="en-US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FE16FB-485D-4AB2-ADBB-41ED08C8491C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222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936" indent="-174936" defTabSz="932992">
              <a:buFont typeface="Wingdings" panose="05000000000000000000" pitchFamily="2" charset="2"/>
              <a:buChar char="§"/>
              <a:defRPr/>
            </a:pPr>
            <a:r>
              <a:rPr lang="en-US" dirty="0"/>
              <a:t>The highest forecasted freight volumes for the forecast year 2040 are still on the World Trade Bridge in Laredo and the Pharr-Reynosa International Bridge on the Rise in Pharr. </a:t>
            </a:r>
          </a:p>
          <a:p>
            <a:pPr marL="174936" indent="-174936" defTabSz="932992">
              <a:buFont typeface="Wingdings" panose="05000000000000000000" pitchFamily="2" charset="2"/>
              <a:buChar char="§"/>
              <a:defRPr/>
            </a:pPr>
            <a:r>
              <a:rPr lang="en-US" dirty="0"/>
              <a:t>The cities with the highest freight volumes are in Laredo, Pharr, and El Paso (</a:t>
            </a:r>
            <a:r>
              <a:rPr lang="en-US" b="1" dirty="0"/>
              <a:t>Exhibit 72</a:t>
            </a:r>
            <a:r>
              <a:rPr lang="en-US" dirty="0"/>
              <a:t>). The Laredo bridges continue to have the highest truck-to-automobile ratios. The highest growth rates of international border crossings from 2010 to 2040 are at the Veterans International Bridge in Brownsville, the Pharr-Reynosa International Bridge, and the World Trade Bridg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8FE16FB-485D-4AB2-ADBB-41ED08C8491C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922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2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7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3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4637777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51"/>
          <a:stretch/>
        </p:blipFill>
        <p:spPr>
          <a:xfrm>
            <a:off x="4410470" y="990600"/>
            <a:ext cx="4808007" cy="44902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8" y="3429000"/>
            <a:ext cx="3218257" cy="1086234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05" y="6015002"/>
            <a:ext cx="9144000" cy="864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4824864"/>
            <a:ext cx="4114800" cy="579651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Franklin Gothic Book" panose="020B0503020102020204" pitchFamily="34" charset="0"/>
              </a:defRPr>
            </a:lvl1pPr>
          </a:lstStyle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5725" y="6582395"/>
            <a:ext cx="2895600" cy="187507"/>
          </a:xfrm>
          <a:prstGeom prst="rect">
            <a:avLst/>
          </a:prstGeom>
        </p:spPr>
        <p:txBody>
          <a:bodyPr/>
          <a:lstStyle>
            <a:lvl1pPr>
              <a:defRPr>
                <a:latin typeface="Franklin Gothic Book" panose="020B0503020102020204" pitchFamily="34" charset="0"/>
              </a:defRPr>
            </a:lvl1pPr>
          </a:lstStyle>
          <a:p>
            <a:endParaRPr lang="en-US" dirty="0">
              <a:solidFill>
                <a:srgbClr val="E2E7EB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Franklin Gothic Book" panose="020B0503020102020204" pitchFamily="34" charset="0"/>
              </a:defRPr>
            </a:lvl1pPr>
          </a:lstStyle>
          <a:p>
            <a:fld id="{C80CC31E-43D3-4722-B03D-A68062F5FC95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2752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48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1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4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9050" y="6512064"/>
            <a:ext cx="6629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Texas-Mexico Border Transportation</a:t>
            </a:r>
            <a:r>
              <a:rPr lang="en-US" sz="1200" baseline="0" dirty="0" smtClean="0">
                <a:solidFill>
                  <a:schemeClr val="bg1"/>
                </a:solidFill>
                <a:latin typeface="Franklin Gothic Book" pitchFamily="34" charset="0"/>
              </a:rPr>
              <a:t> Infrastructure </a:t>
            </a:r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Challenges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629400" y="6488668"/>
            <a:ext cx="2057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  <a:latin typeface="+mn-lt"/>
              </a:rPr>
              <a:t>August</a:t>
            </a:r>
            <a:r>
              <a:rPr lang="en-US" sz="1200" baseline="0" dirty="0" smtClean="0">
                <a:solidFill>
                  <a:schemeClr val="bg1"/>
                </a:solidFill>
                <a:latin typeface="+mn-lt"/>
              </a:rPr>
              <a:t> 24</a:t>
            </a:r>
            <a:r>
              <a:rPr lang="en-US" sz="1200" dirty="0" smtClean="0">
                <a:solidFill>
                  <a:schemeClr val="bg1"/>
                </a:solidFill>
                <a:latin typeface="+mn-lt"/>
              </a:rPr>
              <a:t>,</a:t>
            </a:r>
            <a:r>
              <a:rPr lang="en-US" sz="1200" baseline="0" dirty="0" smtClean="0">
                <a:solidFill>
                  <a:schemeClr val="bg1"/>
                </a:solidFill>
                <a:latin typeface="+mn-lt"/>
              </a:rPr>
              <a:t> 2016</a:t>
            </a:r>
            <a:endParaRPr lang="en-US" sz="1200" dirty="0" smtClean="0">
              <a:solidFill>
                <a:schemeClr val="bg1"/>
              </a:solidFill>
              <a:latin typeface="+mn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  <p:sldLayoutId id="2147483663" r:id="rId7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tiff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36.jpeg"/><Relationship Id="rId4" Type="http://schemas.openxmlformats.org/officeDocument/2006/relationships/hyperlink" Target="http://www.bing.com/images/search?q=texas+flag&amp;id=E8B0A8A2DCBCFD59FA8CD37C734B30823E770E4B&amp;FORM=IQFRBA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hyperlink" Target="http://www.bing.com/images/search?q=texas+flag&amp;id=E8B0A8A2DCBCFD59FA8CD37C734B30823E770E4B&amp;FORM=IQFRBA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jpeg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3.jpeg"/><Relationship Id="rId4" Type="http://schemas.openxmlformats.org/officeDocument/2006/relationships/image" Target="../media/image42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ovetexasfreight.com/" TargetMode="Externa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81009" y="3733800"/>
            <a:ext cx="5386391" cy="914400"/>
          </a:xfrm>
        </p:spPr>
        <p:txBody>
          <a:bodyPr/>
          <a:lstStyle/>
          <a:p>
            <a:r>
              <a:rPr lang="en-US" sz="2000" dirty="0" smtClean="0"/>
              <a:t>Freight and international trade on the Texas-Mexico Border - challenges and opportunities</a:t>
            </a:r>
            <a:endParaRPr lang="en-US" sz="2000" dirty="0"/>
          </a:p>
        </p:txBody>
      </p:sp>
      <p:sp>
        <p:nvSpPr>
          <p:cNvPr id="27" name="Subtitle 26"/>
          <p:cNvSpPr>
            <a:spLocks noGrp="1"/>
          </p:cNvSpPr>
          <p:nvPr>
            <p:ph type="subTitle" idx="1"/>
          </p:nvPr>
        </p:nvSpPr>
        <p:spPr>
          <a:xfrm>
            <a:off x="452434" y="5045869"/>
            <a:ext cx="5656902" cy="973931"/>
          </a:xfrm>
        </p:spPr>
        <p:txBody>
          <a:bodyPr/>
          <a:lstStyle/>
          <a:p>
            <a:r>
              <a:rPr lang="en-US" sz="2000" dirty="0" smtClean="0"/>
              <a:t>Rice University – Baker Institute 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8" t="339" r="392" b="-339"/>
          <a:stretch/>
        </p:blipFill>
        <p:spPr>
          <a:xfrm>
            <a:off x="6137911" y="2034238"/>
            <a:ext cx="2834640" cy="384048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8" t="15233" r="37950" b="5087"/>
          <a:stretch/>
        </p:blipFill>
        <p:spPr>
          <a:xfrm>
            <a:off x="1186972" y="992272"/>
            <a:ext cx="1142026" cy="993353"/>
          </a:xfrm>
          <a:prstGeom prst="rect">
            <a:avLst/>
          </a:prstGeom>
          <a:ln w="19050">
            <a:noFill/>
          </a:ln>
        </p:spPr>
      </p:pic>
      <p:pic>
        <p:nvPicPr>
          <p:cNvPr id="18" name="Picture 17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2" t="21297" r="34137"/>
          <a:stretch/>
        </p:blipFill>
        <p:spPr>
          <a:xfrm>
            <a:off x="3504883" y="990600"/>
            <a:ext cx="746747" cy="996696"/>
          </a:xfrm>
          <a:prstGeom prst="rect">
            <a:avLst/>
          </a:prstGeom>
          <a:ln w="19050">
            <a:noFill/>
          </a:ln>
        </p:spPr>
      </p:pic>
      <p:pic>
        <p:nvPicPr>
          <p:cNvPr id="26" name="Picture 25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75" t="18025" r="24116" b="33603"/>
          <a:stretch/>
        </p:blipFill>
        <p:spPr>
          <a:xfrm>
            <a:off x="2365713" y="990600"/>
            <a:ext cx="1102455" cy="996696"/>
          </a:xfrm>
          <a:prstGeom prst="rect">
            <a:avLst/>
          </a:prstGeom>
          <a:ln w="19050">
            <a:noFill/>
          </a:ln>
        </p:spPr>
      </p:pic>
      <p:pic>
        <p:nvPicPr>
          <p:cNvPr id="28" name="Picture 27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85" t="15291" r="5253" b="12187"/>
          <a:stretch/>
        </p:blipFill>
        <p:spPr>
          <a:xfrm>
            <a:off x="4285805" y="990600"/>
            <a:ext cx="1179286" cy="996696"/>
          </a:xfrm>
          <a:prstGeom prst="rect">
            <a:avLst/>
          </a:prstGeom>
          <a:ln w="19050">
            <a:noFill/>
          </a:ln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8" t="34544" r="14209" b="14422"/>
          <a:stretch/>
        </p:blipFill>
        <p:spPr>
          <a:xfrm>
            <a:off x="152400" y="992272"/>
            <a:ext cx="997857" cy="993353"/>
          </a:xfrm>
          <a:prstGeom prst="rect">
            <a:avLst/>
          </a:prstGeom>
          <a:ln w="19050">
            <a:noFill/>
          </a:ln>
        </p:spPr>
      </p:pic>
      <p:pic>
        <p:nvPicPr>
          <p:cNvPr id="31" name="Picture 30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0" r="17032"/>
          <a:stretch/>
        </p:blipFill>
        <p:spPr>
          <a:xfrm>
            <a:off x="5501957" y="990600"/>
            <a:ext cx="1539187" cy="996696"/>
          </a:xfrm>
          <a:prstGeom prst="rect">
            <a:avLst/>
          </a:prstGeom>
          <a:solidFill>
            <a:srgbClr val="FFCC00"/>
          </a:solidFill>
          <a:ln w="19050">
            <a:noFill/>
          </a:ln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86600" y="982229"/>
            <a:ext cx="1873570" cy="99897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4724400" y="6263350"/>
            <a:ext cx="4114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smtClean="0">
                <a:solidFill>
                  <a:schemeClr val="bg1"/>
                </a:solidFill>
              </a:rPr>
              <a:t>August 24, 2016</a:t>
            </a:r>
          </a:p>
        </p:txBody>
      </p:sp>
    </p:spTree>
    <p:extLst>
      <p:ext uri="{BB962C8B-B14F-4D97-AF65-F5344CB8AC3E}">
        <p14:creationId xmlns:p14="http://schemas.microsoft.com/office/powerpoint/2010/main" val="3017743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0"/>
            <a:ext cx="9144000" cy="584775"/>
          </a:xfrm>
        </p:spPr>
        <p:txBody>
          <a:bodyPr anchor="t"/>
          <a:lstStyle/>
          <a:p>
            <a:pPr eaLnBrk="1" hangingPunct="1"/>
            <a:r>
              <a:rPr lang="en-US" altLang="en-US" sz="3200" b="1" dirty="0" smtClean="0"/>
              <a:t>Where does the Rail Traffic “Flow” in Texas?</a:t>
            </a:r>
          </a:p>
        </p:txBody>
      </p:sp>
      <p:pic>
        <p:nvPicPr>
          <p:cNvPr id="1741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1" y="658813"/>
            <a:ext cx="7708900" cy="5027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2" name="Rectangle 4"/>
          <p:cNvSpPr>
            <a:spLocks noChangeArrowheads="1"/>
          </p:cNvSpPr>
          <p:nvPr/>
        </p:nvSpPr>
        <p:spPr bwMode="auto">
          <a:xfrm>
            <a:off x="6727954" y="6059016"/>
            <a:ext cx="241604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en-US" sz="900" dirty="0"/>
              <a:t>Source:  Cambridge Systematics, 2007</a:t>
            </a:r>
          </a:p>
        </p:txBody>
      </p:sp>
    </p:spTree>
    <p:extLst>
      <p:ext uri="{BB962C8B-B14F-4D97-AF65-F5344CB8AC3E}">
        <p14:creationId xmlns:p14="http://schemas.microsoft.com/office/powerpoint/2010/main" val="3905944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9067800" cy="523220"/>
          </a:xfrm>
        </p:spPr>
        <p:txBody>
          <a:bodyPr/>
          <a:lstStyle/>
          <a:p>
            <a:r>
              <a:rPr lang="en-US" sz="2800" dirty="0"/>
              <a:t>Texas Border-Crossing </a:t>
            </a:r>
            <a:r>
              <a:rPr lang="en-US" sz="2800" dirty="0" smtClean="0"/>
              <a:t>Freight Tonnage 2010 and 2040 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/>
          <p:nvPr/>
        </p:nvPicPr>
        <p:blipFill rotWithShape="1">
          <a:blip r:embed="rId3"/>
          <a:srcRect l="4215" t="26385" r="45399" b="8794"/>
          <a:stretch/>
        </p:blipFill>
        <p:spPr bwMode="auto">
          <a:xfrm>
            <a:off x="39624" y="685800"/>
            <a:ext cx="4608576" cy="4343400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Rectangle 5"/>
          <p:cNvSpPr/>
          <p:nvPr/>
        </p:nvSpPr>
        <p:spPr>
          <a:xfrm>
            <a:off x="18288" y="5443728"/>
            <a:ext cx="9067800" cy="914400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pPr lvl="1"/>
            <a:r>
              <a:rPr lang="en-US" dirty="0">
                <a:latin typeface="Franklin Gothic Demi" panose="020B0703020102020204" pitchFamily="34" charset="0"/>
              </a:rPr>
              <a:t>Nearly 58.0 million tons of freight crossed the Texas-Mexico border in 2010 and over 204.2 million tons are estimated to cross </a:t>
            </a:r>
            <a:r>
              <a:rPr lang="en-US" dirty="0" smtClean="0">
                <a:latin typeface="Franklin Gothic Demi" panose="020B0703020102020204" pitchFamily="34" charset="0"/>
              </a:rPr>
              <a:t>the </a:t>
            </a:r>
            <a:r>
              <a:rPr lang="en-US" dirty="0">
                <a:latin typeface="Franklin Gothic Demi" panose="020B0703020102020204" pitchFamily="34" charset="0"/>
              </a:rPr>
              <a:t>border in 2040</a:t>
            </a:r>
            <a:endParaRPr lang="en-US" b="1" dirty="0">
              <a:latin typeface="Franklin Gothic Demi" panose="020B07030201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/>
          <a:srcRect l="37194" t="26710" r="12052" b="8795"/>
          <a:stretch/>
        </p:blipFill>
        <p:spPr bwMode="auto">
          <a:xfrm>
            <a:off x="4800600" y="685800"/>
            <a:ext cx="4343400" cy="4343400"/>
          </a:xfrm>
          <a:prstGeom prst="rect">
            <a:avLst/>
          </a:prstGeom>
          <a:ln>
            <a:solidFill>
              <a:schemeClr val="tx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261466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4114800"/>
            <a:ext cx="4419600" cy="804863"/>
          </a:xfrm>
        </p:spPr>
        <p:txBody>
          <a:bodyPr/>
          <a:lstStyle/>
          <a:p>
            <a:r>
              <a:rPr lang="en-US" sz="2800" dirty="0" smtClean="0"/>
              <a:t>Texas-mexico border challenges</a:t>
            </a:r>
            <a:endParaRPr lang="en-US" sz="28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294967295"/>
          </p:nvPr>
        </p:nvSpPr>
        <p:spPr>
          <a:xfrm>
            <a:off x="8870951" y="6582396"/>
            <a:ext cx="211057" cy="187507"/>
          </a:xfrm>
          <a:prstGeom prst="rect">
            <a:avLst/>
          </a:prstGeom>
        </p:spPr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2</a:t>
            </a:fld>
            <a:endParaRPr lang="en-US" dirty="0"/>
          </a:p>
        </p:txBody>
      </p:sp>
      <p:pic>
        <p:nvPicPr>
          <p:cNvPr id="10" name="Picture 2" descr="C:\Users\CMAYS\AppData\Local\Microsoft\Windows\Temporary Internet Files\Content.Outlook\MHW5CNC5\photo (3)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0"/>
          <a:stretch/>
        </p:blipFill>
        <p:spPr bwMode="auto">
          <a:xfrm>
            <a:off x="5486401" y="617316"/>
            <a:ext cx="3581398" cy="3566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http://www.thetexaseconomy.org/business-industry/trade-logistics/border-trade/media/USMexRailTraffic_460W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2895600"/>
            <a:ext cx="3581399" cy="3017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ts1.mm.bing.net/th?id=HN.608024072297775126&amp;w=89&amp;h=105&amp;c=7&amp;rs=1&amp;qlt=90&amp;pid=3.1&amp;rm=2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" y="762000"/>
            <a:ext cx="1280160" cy="853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9896" y="762001"/>
            <a:ext cx="1170904" cy="853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3191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686800" cy="461665"/>
          </a:xfrm>
        </p:spPr>
        <p:txBody>
          <a:bodyPr/>
          <a:lstStyle/>
          <a:p>
            <a:r>
              <a:rPr lang="en-US" dirty="0"/>
              <a:t>Texas-Mexico Truck Border Crossing </a:t>
            </a:r>
            <a:r>
              <a:rPr lang="en-US" dirty="0" smtClean="0"/>
              <a:t>Forecasts 2010 - 2040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6705600" cy="5586730"/>
          </a:xfrm>
          <a:prstGeom prst="rect">
            <a:avLst/>
          </a:prstGeom>
        </p:spPr>
      </p:pic>
      <p:sp>
        <p:nvSpPr>
          <p:cNvPr id="6" name="Content Placeholder 2"/>
          <p:cNvSpPr txBox="1">
            <a:spLocks/>
          </p:cNvSpPr>
          <p:nvPr/>
        </p:nvSpPr>
        <p:spPr>
          <a:xfrm>
            <a:off x="6553200" y="685801"/>
            <a:ext cx="2590800" cy="5584102"/>
          </a:xfrm>
          <a:prstGeom prst="rect">
            <a:avLst/>
          </a:prstGeom>
          <a:solidFill>
            <a:srgbClr val="002060"/>
          </a:solidFill>
        </p:spPr>
        <p:txBody>
          <a:bodyPr>
            <a:normAutofit fontScale="92500" lnSpcReduction="20000"/>
          </a:bodyPr>
          <a:lstStyle>
            <a:lvl1pPr marL="230188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2040 Highest Freight Volumes: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Laredo World Trade Bridge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Pharr-Reynosa International Bridge</a:t>
            </a:r>
          </a:p>
          <a:p>
            <a:pPr>
              <a:buClr>
                <a:schemeClr val="bg1"/>
              </a:buClr>
            </a:pPr>
            <a:endParaRPr lang="en-US" dirty="0" smtClean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Highest Growth Rates 2010-2040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Laredo World Trade Bridge (4.6%)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Pharr-Reynosa International Bridge (2.4%)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Veteran International Bridge (1.7%)</a:t>
            </a:r>
          </a:p>
          <a:p>
            <a:pPr>
              <a:buClr>
                <a:schemeClr val="bg1"/>
              </a:buClr>
            </a:pPr>
            <a:endParaRPr lang="en-US" dirty="0" smtClean="0">
              <a:solidFill>
                <a:schemeClr val="bg1"/>
              </a:solidFill>
            </a:endParaRPr>
          </a:p>
          <a:p>
            <a:endParaRPr lang="en-US" dirty="0" smtClean="0">
              <a:solidFill>
                <a:schemeClr val="bg1"/>
              </a:solidFill>
            </a:endParaRPr>
          </a:p>
          <a:p>
            <a:pPr marL="0" indent="0">
              <a:buFont typeface="Wingdings" pitchFamily="2" charset="2"/>
              <a:buNone/>
            </a:pPr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496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54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9362"/>
            <a:ext cx="9144000" cy="6188638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41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69362"/>
            <a:ext cx="9144000" cy="6188638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5447" y="76200"/>
            <a:ext cx="8938553" cy="461665"/>
          </a:xfrm>
        </p:spPr>
        <p:txBody>
          <a:bodyPr/>
          <a:lstStyle/>
          <a:p>
            <a:r>
              <a:rPr lang="en-US" dirty="0" smtClean="0"/>
              <a:t>Growing Congestion:  Highway Freight Tonnage, 2010 to 204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864600" y="6578600"/>
            <a:ext cx="211138" cy="187325"/>
          </a:xfrm>
          <a:prstGeom prst="rect">
            <a:avLst/>
          </a:prstGeom>
        </p:spPr>
        <p:txBody>
          <a:bodyPr/>
          <a:lstStyle/>
          <a:p>
            <a:pPr lvl="1">
              <a:defRPr/>
            </a:pPr>
            <a:fld id="{5B4682F8-A712-4FE5-8407-BBEF201922BD}" type="slidenum">
              <a:rPr lang="en-US" smtClean="0"/>
              <a:pPr lvl="1"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95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4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54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03255" y="18288"/>
            <a:ext cx="8964545" cy="523220"/>
          </a:xfrm>
        </p:spPr>
        <p:txBody>
          <a:bodyPr anchor="t"/>
          <a:lstStyle/>
          <a:p>
            <a:pPr eaLnBrk="1" hangingPunct="1"/>
            <a:r>
              <a:rPr lang="en-US" altLang="en-US" sz="2800" dirty="0" smtClean="0"/>
              <a:t>Key Texas Border Transportation Challenges</a:t>
            </a:r>
          </a:p>
        </p:txBody>
      </p:sp>
      <p:sp>
        <p:nvSpPr>
          <p:cNvPr id="18435" name="Rectangle 3"/>
          <p:cNvSpPr txBox="1">
            <a:spLocks noChangeAspect="1" noChangeArrowheads="1"/>
          </p:cNvSpPr>
          <p:nvPr/>
        </p:nvSpPr>
        <p:spPr bwMode="auto">
          <a:xfrm>
            <a:off x="35967" y="609600"/>
            <a:ext cx="9144000" cy="5410712"/>
          </a:xfrm>
          <a:prstGeom prst="rect">
            <a:avLst/>
          </a:prstGeom>
          <a:solidFill>
            <a:srgbClr val="002060"/>
          </a:solidFill>
          <a:ln>
            <a:noFill/>
          </a:ln>
          <a:extLst/>
        </p:spPr>
        <p:txBody>
          <a:bodyPr wrap="square">
            <a:spAutoFit/>
          </a:bodyPr>
          <a:lstStyle>
            <a:lvl1pPr marL="342900" indent="-3429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9pPr>
          </a:lstStyle>
          <a:p>
            <a:pPr marL="571500" indent="-5715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Growing trade volumes between U.S. and Mexico through Texas</a:t>
            </a:r>
          </a:p>
          <a:p>
            <a:pPr marL="365760" indent="-571500">
              <a:buFont typeface="Wingdings" panose="05000000000000000000" pitchFamily="2" charset="2"/>
              <a:buChar char="§"/>
            </a:pPr>
            <a:endParaRPr lang="en-US" altLang="en-US" sz="2400" b="0" dirty="0" smtClean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pPr marL="571500" indent="-5715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Inadequate </a:t>
            </a:r>
            <a:r>
              <a:rPr lang="en-US" altLang="en-US" sz="2400" b="0" dirty="0">
                <a:solidFill>
                  <a:schemeClr val="bg1"/>
                </a:solidFill>
                <a:latin typeface="Franklin Gothic Book" panose="020B0503020102020204" pitchFamily="34" charset="0"/>
              </a:rPr>
              <a:t>s</a:t>
            </a:r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ystem capacity  at the border and beyond the border</a:t>
            </a:r>
          </a:p>
          <a:p>
            <a:pPr marL="0" indent="0"/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 </a:t>
            </a:r>
          </a:p>
          <a:p>
            <a:pPr marL="571500" indent="-5715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Systems operations issues at the border and beyond the border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en-US" altLang="en-US" sz="2400" b="0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pPr marL="571500" indent="-5715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Connectivity issues from border to rest of the state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en-US" altLang="en-US" sz="2400" b="0" dirty="0" smtClean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pPr marL="571500" indent="-5715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Institutional/interagency- </a:t>
            </a:r>
            <a:r>
              <a:rPr lang="en-US" altLang="en-US" sz="2400" b="0" dirty="0">
                <a:solidFill>
                  <a:schemeClr val="bg1"/>
                </a:solidFill>
                <a:latin typeface="Franklin Gothic Book" panose="020B0503020102020204" pitchFamily="34" charset="0"/>
              </a:rPr>
              <a:t>i</a:t>
            </a:r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ndustry coordination</a:t>
            </a:r>
          </a:p>
          <a:p>
            <a:pPr marL="571500" indent="-571500">
              <a:buFont typeface="Wingdings" panose="05000000000000000000" pitchFamily="2" charset="2"/>
              <a:buChar char="§"/>
            </a:pPr>
            <a:endParaRPr lang="en-US" altLang="en-US" sz="2400" b="0" dirty="0" smtClean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pPr marL="571500" indent="-5715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Education and public awareness</a:t>
            </a:r>
          </a:p>
          <a:p>
            <a:pPr marL="548640" indent="-571500">
              <a:buFont typeface="Wingdings" panose="05000000000000000000" pitchFamily="2" charset="2"/>
              <a:buChar char="§"/>
            </a:pPr>
            <a:endParaRPr lang="en-US" altLang="en-US" sz="2400" b="0" dirty="0">
              <a:solidFill>
                <a:schemeClr val="bg1"/>
              </a:solidFill>
              <a:latin typeface="Franklin Gothic Book" panose="020B0503020102020204" pitchFamily="34" charset="0"/>
            </a:endParaRPr>
          </a:p>
          <a:p>
            <a:pPr marL="571500" indent="-571500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US" altLang="en-US" sz="2400" b="0" dirty="0" smtClean="0">
                <a:solidFill>
                  <a:schemeClr val="bg1"/>
                </a:solidFill>
                <a:latin typeface="Franklin Gothic Book" panose="020B0503020102020204" pitchFamily="34" charset="0"/>
              </a:rPr>
              <a:t>Funding challenges</a:t>
            </a:r>
          </a:p>
        </p:txBody>
      </p:sp>
      <p:pic>
        <p:nvPicPr>
          <p:cNvPr id="4" name="Picture 2" descr="C:\Users\CMAYS\AppData\Local\Microsoft\Windows\Temporary Internet Files\Content.Outlook\MHW5CNC5\Approach road to Colombia Bridge RFID readers on sign gantr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3049" y="5867400"/>
            <a:ext cx="2458661" cy="94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 descr="http://www.prlog.org/11091320-freightaccess-fedex-freight-cargo-ltl-shipping-air-freight-pilot-loading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3765" y="5867400"/>
            <a:ext cx="2511490" cy="94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8" descr="http://ts2.mm.bing.net/th?id=I.4883047886684421&amp;pid=1.7&amp;w=213&amp;h=145&amp;c=7&amp;rs=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5" y="5867400"/>
            <a:ext cx="2139990" cy="94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2" descr="http://ts3.mm.bing.net/th?id=I.5059197377249886&amp;pid=1.7&amp;w=192&amp;h=136&amp;c=7&amp;rs=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255" y="5867400"/>
            <a:ext cx="2056995" cy="948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5653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CMAYS\AppData\Local\Microsoft\Windows\Temporary Internet Files\Content.Outlook\MHW5CNC5\photo (3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0"/>
          <a:stretch/>
        </p:blipFill>
        <p:spPr bwMode="auto">
          <a:xfrm>
            <a:off x="7086600" y="559046"/>
            <a:ext cx="2088930" cy="32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014" name="Picture 6" descr="http://www.thetexaseconomy.org/business-industry/trade-logistics/border-trade/media/USMexRailTraffic_460W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3275980"/>
            <a:ext cx="2100044" cy="2972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6"/>
          <p:cNvSpPr txBox="1">
            <a:spLocks/>
          </p:cNvSpPr>
          <p:nvPr/>
        </p:nvSpPr>
        <p:spPr>
          <a:xfrm>
            <a:off x="55943" y="62351"/>
            <a:ext cx="8796762" cy="523220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>
                <a:solidFill>
                  <a:schemeClr val="bg1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pPr algn="l"/>
            <a:r>
              <a:rPr lang="en-US" sz="2800" dirty="0" smtClean="0"/>
              <a:t>Texas Border  Transportation Challenges</a:t>
            </a:r>
            <a:endParaRPr lang="en-US" sz="2800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58992" y="665451"/>
            <a:ext cx="7027608" cy="565914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>
            <a:lvl1pPr marL="230188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2000" dirty="0">
                <a:solidFill>
                  <a:schemeClr val="bg1"/>
                </a:solidFill>
                <a:latin typeface="Franklin Gothic Medium" panose="020B0603020102020204" pitchFamily="34" charset="0"/>
              </a:rPr>
              <a:t>Lack of a coordinated border strategy </a:t>
            </a:r>
          </a:p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Franklin Gothic Medium" panose="020B0603020102020204" pitchFamily="34" charset="0"/>
              </a:rPr>
              <a:t> No single entity is responsible for border </a:t>
            </a:r>
            <a:r>
              <a:rPr lang="en-US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coordination</a:t>
            </a:r>
          </a:p>
          <a:p>
            <a:pPr>
              <a:buClr>
                <a:schemeClr val="bg1"/>
              </a:buClr>
            </a:pP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Congestion </a:t>
            </a:r>
            <a:r>
              <a:rPr lang="en-US" sz="2000" dirty="0">
                <a:solidFill>
                  <a:schemeClr val="bg1"/>
                </a:solidFill>
                <a:latin typeface="Franklin Gothic Medium" panose="020B0603020102020204" pitchFamily="34" charset="0"/>
              </a:rPr>
              <a:t>at the </a:t>
            </a: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Border </a:t>
            </a:r>
          </a:p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Franklin Gothic Medium" panose="020B0603020102020204" pitchFamily="34" charset="0"/>
              </a:rPr>
              <a:t>I</a:t>
            </a:r>
            <a:r>
              <a:rPr lang="en-US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mpacts </a:t>
            </a:r>
            <a:r>
              <a:rPr lang="en-US" dirty="0">
                <a:solidFill>
                  <a:schemeClr val="bg1"/>
                </a:solidFill>
                <a:latin typeface="Franklin Gothic Medium" panose="020B0603020102020204" pitchFamily="34" charset="0"/>
              </a:rPr>
              <a:t>efficiency of freight movement</a:t>
            </a:r>
          </a:p>
          <a:p>
            <a:pPr>
              <a:buClr>
                <a:schemeClr val="bg1"/>
              </a:buClr>
            </a:pP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Border </a:t>
            </a:r>
            <a:r>
              <a:rPr lang="en-US" sz="2000" dirty="0">
                <a:solidFill>
                  <a:schemeClr val="bg1"/>
                </a:solidFill>
                <a:latin typeface="Franklin Gothic Medium" panose="020B0603020102020204" pitchFamily="34" charset="0"/>
              </a:rPr>
              <a:t>crossing staffing </a:t>
            </a: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issues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Impacts customs </a:t>
            </a:r>
            <a:r>
              <a:rPr lang="en-US" dirty="0">
                <a:solidFill>
                  <a:schemeClr val="bg1"/>
                </a:solidFill>
                <a:latin typeface="Franklin Gothic Medium" panose="020B0603020102020204" pitchFamily="34" charset="0"/>
              </a:rPr>
              <a:t>processing </a:t>
            </a:r>
            <a:r>
              <a:rPr lang="en-US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time and wait times</a:t>
            </a:r>
          </a:p>
          <a:p>
            <a:pPr>
              <a:buClr>
                <a:schemeClr val="bg1"/>
              </a:buClr>
            </a:pPr>
            <a:r>
              <a:rPr lang="en-US" sz="2000" dirty="0">
                <a:solidFill>
                  <a:schemeClr val="bg1"/>
                </a:solidFill>
                <a:latin typeface="Franklin Gothic Medium" panose="020B0603020102020204" pitchFamily="34" charset="0"/>
              </a:rPr>
              <a:t>Hours of operation at Port of Entry needs to be </a:t>
            </a: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extended </a:t>
            </a:r>
          </a:p>
          <a:p>
            <a:pPr>
              <a:buClr>
                <a:schemeClr val="bg1"/>
              </a:buClr>
            </a:pP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Technology deployment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Need </a:t>
            </a:r>
            <a:r>
              <a:rPr lang="en-US" dirty="0">
                <a:solidFill>
                  <a:schemeClr val="bg1"/>
                </a:solidFill>
                <a:latin typeface="Franklin Gothic Medium" panose="020B0603020102020204" pitchFamily="34" charset="0"/>
              </a:rPr>
              <a:t>to apply technology at Port of Entry to improve mobility at the </a:t>
            </a:r>
            <a:r>
              <a:rPr lang="en-US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crossings</a:t>
            </a:r>
          </a:p>
          <a:p>
            <a:pPr>
              <a:buClr>
                <a:schemeClr val="bg1"/>
              </a:buClr>
            </a:pP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Excessive </a:t>
            </a:r>
            <a:r>
              <a:rPr lang="en-US" sz="2000" dirty="0">
                <a:solidFill>
                  <a:schemeClr val="bg1"/>
                </a:solidFill>
                <a:latin typeface="Franklin Gothic Medium" panose="020B0603020102020204" pitchFamily="34" charset="0"/>
              </a:rPr>
              <a:t>inspection is impacting freight growth at the Brownsville Port of Entry</a:t>
            </a:r>
          </a:p>
          <a:p>
            <a:pPr>
              <a:buClr>
                <a:schemeClr val="bg1"/>
              </a:buClr>
            </a:pPr>
            <a:endParaRPr lang="en-US" sz="2000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230188" lvl="2" indent="-230188">
              <a:buClr>
                <a:srgbClr val="0A1B2B"/>
              </a:buClr>
              <a:buFont typeface="Wingdings" pitchFamily="2" charset="2"/>
              <a:buChar char="§"/>
            </a:pPr>
            <a:endParaRPr lang="en-US" sz="2000" dirty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230188" lvl="2" indent="-230188">
              <a:buClr>
                <a:srgbClr val="0A1B2B"/>
              </a:buClr>
              <a:buFont typeface="Wingdings" pitchFamily="2" charset="2"/>
              <a:buChar char="§"/>
            </a:pPr>
            <a:endParaRPr lang="en-US" sz="2000" dirty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>
              <a:buClr>
                <a:srgbClr val="0A1B2B"/>
              </a:buClr>
            </a:pPr>
            <a:endParaRPr lang="en-US" sz="2000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458788" lvl="2">
              <a:buClr>
                <a:srgbClr val="0A1B2B"/>
              </a:buClr>
              <a:buFont typeface="Wingdings" pitchFamily="2" charset="2"/>
              <a:buChar char="§"/>
            </a:pPr>
            <a:endParaRPr lang="en-US" sz="2000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458788" lvl="2">
              <a:buClr>
                <a:srgbClr val="0A1B2B"/>
              </a:buClr>
              <a:buFont typeface="Wingdings" pitchFamily="2" charset="2"/>
              <a:buChar char="§"/>
            </a:pPr>
            <a:endParaRPr lang="en-US" sz="2000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458788" lvl="2">
              <a:buClr>
                <a:srgbClr val="0A1B2B"/>
              </a:buClr>
              <a:buFont typeface="Wingdings" pitchFamily="2" charset="2"/>
              <a:buChar char="§"/>
            </a:pPr>
            <a:endParaRPr lang="en-US" sz="2000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458788" lvl="2">
              <a:buClr>
                <a:srgbClr val="0A1B2B"/>
              </a:buClr>
              <a:buFont typeface="Wingdings" pitchFamily="2" charset="2"/>
              <a:buChar char="§"/>
            </a:pPr>
            <a:endParaRPr lang="en-US" sz="2000" dirty="0">
              <a:solidFill>
                <a:schemeClr val="bg1"/>
              </a:solidFill>
              <a:latin typeface="Franklin Gothic Medium" panose="020B06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9309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>
          <a:xfrm>
            <a:off x="55944" y="665452"/>
            <a:ext cx="6421056" cy="565914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noAutofit/>
          </a:bodyPr>
          <a:lstStyle>
            <a:lvl1pPr marL="230188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Inadequate highway and rail capacity </a:t>
            </a:r>
          </a:p>
          <a:p>
            <a:pPr lvl="1"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Need for more rail bridge crossing at the border</a:t>
            </a:r>
          </a:p>
          <a:p>
            <a:pPr lvl="1"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  <a:latin typeface="Franklin Gothic Medium" panose="020B0603020102020204" pitchFamily="34" charset="0"/>
              </a:rPr>
              <a:t>Need for greater north-south connectivity to the </a:t>
            </a:r>
            <a:r>
              <a:rPr lang="en-US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border</a:t>
            </a:r>
          </a:p>
          <a:p>
            <a:pPr lvl="1">
              <a:buClr>
                <a:schemeClr val="bg1"/>
              </a:buClr>
            </a:pPr>
            <a:endParaRPr lang="en-US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>
              <a:buClr>
                <a:schemeClr val="bg1"/>
              </a:buClr>
            </a:pP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Understand </a:t>
            </a:r>
            <a:r>
              <a:rPr lang="en-US" sz="2000" dirty="0">
                <a:solidFill>
                  <a:schemeClr val="bg1"/>
                </a:solidFill>
                <a:latin typeface="Franklin Gothic Medium" panose="020B0603020102020204" pitchFamily="34" charset="0"/>
              </a:rPr>
              <a:t>what is happening in </a:t>
            </a:r>
            <a:r>
              <a:rPr lang="en-US" sz="2000" dirty="0" smtClean="0">
                <a:solidFill>
                  <a:schemeClr val="bg1"/>
                </a:solidFill>
                <a:latin typeface="Franklin Gothic Medium" panose="020B0603020102020204" pitchFamily="34" charset="0"/>
              </a:rPr>
              <a:t>Mexico</a:t>
            </a:r>
            <a:endParaRPr lang="en-US" sz="2000" dirty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lvl="1">
              <a:buClr>
                <a:schemeClr val="bg1"/>
              </a:buClr>
            </a:pPr>
            <a:endParaRPr lang="en-US" dirty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230188" lvl="2" indent="-230188">
              <a:buClr>
                <a:schemeClr val="bg1"/>
              </a:buClr>
              <a:buFont typeface="Wingdings" pitchFamily="2" charset="2"/>
              <a:buChar char="§"/>
            </a:pPr>
            <a:r>
              <a:rPr lang="en-US" sz="2000" dirty="0">
                <a:solidFill>
                  <a:schemeClr val="bg1"/>
                </a:solidFill>
                <a:latin typeface="Franklin Gothic Medium" panose="020B0603020102020204" pitchFamily="34" charset="0"/>
              </a:rPr>
              <a:t>Multistate coordination - need to engage other states on benefits of Texas-Mexico border</a:t>
            </a:r>
          </a:p>
          <a:p>
            <a:pPr marL="230188" lvl="2" indent="-230188">
              <a:buClr>
                <a:schemeClr val="bg1"/>
              </a:buClr>
              <a:buFont typeface="Wingdings" pitchFamily="2" charset="2"/>
              <a:buChar char="§"/>
            </a:pPr>
            <a:endParaRPr lang="en-US" sz="2000" dirty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>
              <a:buClr>
                <a:schemeClr val="bg1"/>
              </a:buClr>
            </a:pPr>
            <a:endParaRPr lang="en-US" sz="2000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458788" lvl="2">
              <a:buClr>
                <a:schemeClr val="bg1"/>
              </a:buClr>
              <a:buFont typeface="Wingdings" pitchFamily="2" charset="2"/>
              <a:buChar char="§"/>
            </a:pPr>
            <a:endParaRPr lang="en-US" sz="2000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458788" lvl="2">
              <a:buClr>
                <a:schemeClr val="bg1"/>
              </a:buClr>
              <a:buFont typeface="Wingdings" pitchFamily="2" charset="2"/>
              <a:buChar char="§"/>
            </a:pPr>
            <a:endParaRPr lang="en-US" sz="2000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458788" lvl="2">
              <a:buClr>
                <a:schemeClr val="bg1"/>
              </a:buClr>
              <a:buFont typeface="Wingdings" pitchFamily="2" charset="2"/>
              <a:buChar char="§"/>
            </a:pPr>
            <a:endParaRPr lang="en-US" sz="2000" dirty="0" smtClean="0">
              <a:solidFill>
                <a:schemeClr val="bg1"/>
              </a:solidFill>
              <a:latin typeface="Franklin Gothic Medium" panose="020B0603020102020204" pitchFamily="34" charset="0"/>
            </a:endParaRPr>
          </a:p>
          <a:p>
            <a:pPr marL="458788" lvl="2">
              <a:buClr>
                <a:schemeClr val="bg1"/>
              </a:buClr>
              <a:buFont typeface="Wingdings" pitchFamily="2" charset="2"/>
              <a:buChar char="§"/>
            </a:pPr>
            <a:endParaRPr lang="en-US" sz="2000" dirty="0">
              <a:solidFill>
                <a:schemeClr val="bg1"/>
              </a:solidFill>
              <a:latin typeface="Franklin Gothic Medium" panose="020B0603020102020204" pitchFamily="34" charset="0"/>
            </a:endParaRPr>
          </a:p>
        </p:txBody>
      </p:sp>
      <p:sp>
        <p:nvSpPr>
          <p:cNvPr id="5" name="Title 6"/>
          <p:cNvSpPr txBox="1">
            <a:spLocks/>
          </p:cNvSpPr>
          <p:nvPr/>
        </p:nvSpPr>
        <p:spPr>
          <a:xfrm>
            <a:off x="55943" y="62351"/>
            <a:ext cx="8796762" cy="523220"/>
          </a:xfrm>
          <a:prstGeom prst="rect">
            <a:avLst/>
          </a:prstGeom>
          <a:noFill/>
        </p:spPr>
        <p:txBody>
          <a:bodyPr wrap="square" lIns="0" rtlCol="0" anchor="ctr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600" b="0" kern="1200">
                <a:solidFill>
                  <a:schemeClr val="bg1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pPr algn="l"/>
            <a:r>
              <a:rPr lang="en-US" sz="2800" dirty="0" smtClean="0"/>
              <a:t>Texas Border Transportation Challenges</a:t>
            </a:r>
            <a:endParaRPr lang="en-US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17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" name="Picture 2" descr="C:\Users\CMAYS\AppData\Local\Microsoft\Windows\Temporary Internet Files\Content.Outlook\MHW5CNC5\photo (3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40"/>
          <a:stretch/>
        </p:blipFill>
        <p:spPr bwMode="auto">
          <a:xfrm>
            <a:off x="6477000" y="559046"/>
            <a:ext cx="2698530" cy="3293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6" descr="http://www.thetexaseconomy.org/business-industry/trade-logistics/border-trade/media/USMexRailTraffic_460W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0" y="3275981"/>
            <a:ext cx="2709644" cy="29724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9283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0" y="3657600"/>
            <a:ext cx="4495800" cy="1262063"/>
          </a:xfrm>
        </p:spPr>
        <p:txBody>
          <a:bodyPr/>
          <a:lstStyle/>
          <a:p>
            <a:r>
              <a:rPr lang="en-US" sz="2800" dirty="0" smtClean="0"/>
              <a:t>Texas-mexico border – Addressing the Challenges</a:t>
            </a:r>
            <a:endParaRPr lang="en-US" sz="28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294967295"/>
          </p:nvPr>
        </p:nvSpPr>
        <p:spPr>
          <a:xfrm>
            <a:off x="8870951" y="6582396"/>
            <a:ext cx="211057" cy="187507"/>
          </a:xfrm>
          <a:prstGeom prst="rect">
            <a:avLst/>
          </a:prstGeom>
        </p:spPr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8</a:t>
            </a:fld>
            <a:endParaRPr lang="en-US" dirty="0"/>
          </a:p>
        </p:txBody>
      </p:sp>
      <p:pic>
        <p:nvPicPr>
          <p:cNvPr id="6" name="Picture 2" descr="http://ts1.mm.bing.net/th?id=HN.608024072297775126&amp;w=89&amp;h=105&amp;c=7&amp;rs=1&amp;qlt=90&amp;pid=3.1&amp;rm=2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" y="762000"/>
            <a:ext cx="1280160" cy="853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9896" y="800793"/>
            <a:ext cx="965924" cy="775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800792"/>
            <a:ext cx="3810000" cy="5142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30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Freight Plan Policy Recommendations - Border</a:t>
            </a:r>
            <a:r>
              <a:rPr lang="en-US" dirty="0" smtClean="0"/>
              <a:t>	</a:t>
            </a:r>
            <a:endParaRPr lang="en-US" i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76200" y="609600"/>
            <a:ext cx="9067800" cy="5638800"/>
          </a:xfrm>
        </p:spPr>
        <p:txBody>
          <a:bodyPr>
            <a:normAutofit/>
          </a:bodyPr>
          <a:lstStyle/>
          <a:p>
            <a:r>
              <a:rPr lang="en-US" b="1" dirty="0" smtClean="0"/>
              <a:t>Texas as a North American Trade and Logistics Hub and Gatewa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 smtClean="0"/>
              <a:t>The State should continue to invest in strategic transportation solutions that will enable Texas to maintain its position as the nation’s leader in North American trade and a leading international trade gateway and national logistics hub.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sz="1800" dirty="0">
                <a:solidFill>
                  <a:prstClr val="black"/>
                </a:solidFill>
              </a:rPr>
              <a:t>Elevate the importance of economic and transportation benefits of freight movement in statewide, regional, and local transportation planning </a:t>
            </a:r>
            <a:r>
              <a:rPr lang="en-US" altLang="en-US" sz="1800" dirty="0" smtClean="0">
                <a:solidFill>
                  <a:prstClr val="black"/>
                </a:solidFill>
              </a:rPr>
              <a:t>efforts</a:t>
            </a:r>
            <a:endParaRPr lang="en-US" sz="2400" dirty="0" smtClean="0"/>
          </a:p>
          <a:p>
            <a:r>
              <a:rPr lang="en-US" b="1" dirty="0" smtClean="0"/>
              <a:t>International Border/Ports-of-Entr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 smtClean="0"/>
              <a:t>The State should invest in and facilitate international border coordination strategies to improve freight mobility and efficiency.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 smtClean="0"/>
              <a:t>The state should explore creating a border entity charged with coordinating Texas-border strategies and initiatives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prstClr val="black"/>
                </a:solidFill>
              </a:rPr>
              <a:t>The State should invest in a comprehensive integration of security and cross-border efficiency to improve cross-border trade and the movement of people and goods in order to facilitate Texas’ economic competitiveness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US" sz="24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9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2" descr="C:\Users\CMAYS\AppData\Local\Microsoft\Windows\Temporary Internet Files\Content.Outlook\MHW5CNC5\Approach road to Colombia Bridge RFID readers on sign gantry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322" y="5791200"/>
            <a:ext cx="2458661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http://www.prlog.org/11091320-freightaccess-fedex-freight-cargo-ltl-shipping-air-freight-pilot-loadi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38" y="5791200"/>
            <a:ext cx="251149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8" descr="http://ts2.mm.bing.net/th?id=I.4883047886684421&amp;pid=1.7&amp;w=213&amp;h=145&amp;c=7&amp;rs=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8" y="5791200"/>
            <a:ext cx="213999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2" descr="http://ts3.mm.bing.net/th?id=I.5059197377249886&amp;pid=1.7&amp;w=192&amp;h=136&amp;c=7&amp;rs=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0528" y="5791200"/>
            <a:ext cx="2056995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3730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76200"/>
            <a:ext cx="8839200" cy="461665"/>
          </a:xfrm>
        </p:spPr>
        <p:txBody>
          <a:bodyPr/>
          <a:lstStyle/>
          <a:p>
            <a:r>
              <a:rPr lang="en-US" dirty="0" smtClean="0"/>
              <a:t>Overview of Texas-México Border Crossings – 28 Crossing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pic>
        <p:nvPicPr>
          <p:cNvPr id="15360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762001"/>
            <a:ext cx="8915400" cy="541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783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Content Placeholder 2"/>
          <p:cNvSpPr txBox="1">
            <a:spLocks/>
          </p:cNvSpPr>
          <p:nvPr/>
        </p:nvSpPr>
        <p:spPr bwMode="auto">
          <a:xfrm>
            <a:off x="42440" y="664369"/>
            <a:ext cx="8949159" cy="5004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30188" indent="-230188"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Franklin Gothic Book" pitchFamily="34" charset="0"/>
              </a:defRPr>
            </a:lvl1pPr>
            <a:lvl2pPr marL="514350" indent="-230188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Franklin Gothic Book" pitchFamily="34" charset="0"/>
              </a:defRPr>
            </a:lvl2pPr>
            <a:lvl3pPr marL="742950" indent="-17145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97155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1143000" indent="-17145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160020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05740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251460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2971800" indent="-171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buClr>
                <a:srgbClr val="0A1B2B"/>
              </a:buClr>
            </a:pPr>
            <a:r>
              <a:rPr lang="en-US" altLang="en-US" sz="2000" b="1" dirty="0">
                <a:solidFill>
                  <a:prstClr val="black"/>
                </a:solidFill>
              </a:rPr>
              <a:t>Work with federal, state, local, and private sector to develop a dedicated International Border Freight Movement Coordination Program between industry and international, national, state, regional, local agencies</a:t>
            </a:r>
          </a:p>
          <a:p>
            <a:pPr lvl="1" eaLnBrk="1" hangingPunct="1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prstClr val="black"/>
                </a:solidFill>
              </a:rPr>
              <a:t>Expand the FAST (Free and Secure Trade) program, and the proposed express lane at the Department of Public Safety (DPS) inspection stations</a:t>
            </a:r>
          </a:p>
          <a:p>
            <a:pPr lvl="1" eaLnBrk="1" hangingPunct="1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prstClr val="black"/>
                </a:solidFill>
              </a:rPr>
              <a:t>Pursue one-stop permitting and inspection between US Customs and Border Protection (</a:t>
            </a:r>
            <a:r>
              <a:rPr lang="en-US" altLang="en-US" dirty="0" smtClean="0">
                <a:solidFill>
                  <a:prstClr val="black"/>
                </a:solidFill>
              </a:rPr>
              <a:t>CBP), FMCSA, TxDMV, and </a:t>
            </a:r>
            <a:r>
              <a:rPr lang="en-US" altLang="en-US" dirty="0">
                <a:solidFill>
                  <a:prstClr val="black"/>
                </a:solidFill>
              </a:rPr>
              <a:t>DPS</a:t>
            </a:r>
          </a:p>
          <a:p>
            <a:pPr lvl="1" eaLnBrk="1" hangingPunct="1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prstClr val="black"/>
                </a:solidFill>
              </a:rPr>
              <a:t>Improve coordination between </a:t>
            </a:r>
            <a:r>
              <a:rPr lang="en-US" altLang="en-US" dirty="0" smtClean="0">
                <a:solidFill>
                  <a:prstClr val="black"/>
                </a:solidFill>
              </a:rPr>
              <a:t>all appropriate state, national, and international agencies to define and collect data and information necessary to understand issues and develop solutions</a:t>
            </a:r>
            <a:endParaRPr lang="en-US" altLang="en-US" dirty="0">
              <a:solidFill>
                <a:prstClr val="black"/>
              </a:solidFill>
            </a:endParaRPr>
          </a:p>
          <a:p>
            <a:pPr lvl="1" eaLnBrk="1" hangingPunct="1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prstClr val="black"/>
                </a:solidFill>
              </a:rPr>
              <a:t>Consider funding partnerships with </a:t>
            </a:r>
            <a:r>
              <a:rPr lang="en-US" altLang="en-US" dirty="0" smtClean="0">
                <a:solidFill>
                  <a:prstClr val="black"/>
                </a:solidFill>
              </a:rPr>
              <a:t>US and Mexican agencies and industry partners</a:t>
            </a:r>
          </a:p>
          <a:p>
            <a:pPr lvl="1" eaLnBrk="1" hangingPunct="1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prstClr val="black"/>
                </a:solidFill>
              </a:rPr>
              <a:t>Develop and implement a matrix for measuring </a:t>
            </a:r>
            <a:r>
              <a:rPr lang="en-US" altLang="en-US" dirty="0" smtClean="0">
                <a:solidFill>
                  <a:prstClr val="black"/>
                </a:solidFill>
              </a:rPr>
              <a:t>efficiencies and </a:t>
            </a:r>
            <a:r>
              <a:rPr lang="en-US" altLang="en-US" dirty="0">
                <a:solidFill>
                  <a:prstClr val="black"/>
                </a:solidFill>
              </a:rPr>
              <a:t>benefits</a:t>
            </a:r>
          </a:p>
          <a:p>
            <a:pPr lvl="1" eaLnBrk="1" hangingPunct="1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altLang="en-US" dirty="0">
                <a:solidFill>
                  <a:prstClr val="black"/>
                </a:solidFill>
              </a:rPr>
              <a:t>Collaborate to expand trusted shipper programs/ prescreening </a:t>
            </a:r>
          </a:p>
        </p:txBody>
      </p:sp>
      <p:sp>
        <p:nvSpPr>
          <p:cNvPr id="44039" name="Title 6"/>
          <p:cNvSpPr txBox="1">
            <a:spLocks/>
          </p:cNvSpPr>
          <p:nvPr/>
        </p:nvSpPr>
        <p:spPr bwMode="auto">
          <a:xfrm>
            <a:off x="152400" y="47392"/>
            <a:ext cx="88392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b="1" dirty="0" smtClean="0">
                <a:solidFill>
                  <a:schemeClr val="bg1"/>
                </a:solidFill>
                <a:latin typeface="Franklin Gothic Demi" pitchFamily="34" charset="0"/>
                <a:cs typeface="Arial" pitchFamily="34" charset="0"/>
              </a:rPr>
              <a:t>Freight Plan – Program Recommendations—Border</a:t>
            </a:r>
            <a:endParaRPr lang="en-US" altLang="en-US" b="1" dirty="0">
              <a:solidFill>
                <a:schemeClr val="bg1"/>
              </a:solidFill>
              <a:latin typeface="Franklin Gothic Demi" pitchFamily="34" charset="0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0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3" name="Picture 2" descr="C:\Users\CMAYS\AppData\Local\Microsoft\Windows\Temporary Internet Files\Content.Outlook\MHW5CNC5\Approach road to Colombia Bridge RFID readers on sign gantr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322" y="5737225"/>
            <a:ext cx="2458661" cy="112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8" descr="http://www.prlog.org/11091320-freightaccess-fedex-freight-cargo-ltl-shipping-air-freight-pilot-loading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38" y="5737225"/>
            <a:ext cx="2511490" cy="112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8" descr="http://ts2.mm.bing.net/th?id=I.4883047886684421&amp;pid=1.7&amp;w=213&amp;h=145&amp;c=7&amp;rs=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8" y="5737225"/>
            <a:ext cx="2139990" cy="112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http://ts3.mm.bing.net/th?id=I.5059197377249886&amp;pid=1.7&amp;w=192&amp;h=136&amp;c=7&amp;rs=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0528" y="5737225"/>
            <a:ext cx="2056995" cy="1120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871744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104171" y="718616"/>
            <a:ext cx="9008679" cy="4920184"/>
          </a:xfrm>
          <a:prstGeom prst="rect">
            <a:avLst/>
          </a:prstGeom>
        </p:spPr>
        <p:txBody>
          <a:bodyPr/>
          <a:lstStyle>
            <a:lvl1pPr marL="230188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0A1B2B"/>
              </a:buClr>
              <a:defRPr/>
            </a:pPr>
            <a:r>
              <a:rPr lang="en-US" sz="2000" b="1" dirty="0" smtClean="0">
                <a:solidFill>
                  <a:prstClr val="black"/>
                </a:solidFill>
              </a:rPr>
              <a:t>Work </a:t>
            </a:r>
            <a:r>
              <a:rPr lang="en-US" sz="2000" b="1" dirty="0">
                <a:solidFill>
                  <a:prstClr val="black"/>
                </a:solidFill>
              </a:rPr>
              <a:t>with federal, state, local, and private sector to develop a program to analyze current </a:t>
            </a:r>
            <a:r>
              <a:rPr lang="en-US" sz="2000" b="1" dirty="0" smtClean="0">
                <a:solidFill>
                  <a:prstClr val="black"/>
                </a:solidFill>
              </a:rPr>
              <a:t>efficiencies at </a:t>
            </a:r>
            <a:r>
              <a:rPr lang="en-US" sz="2000" b="1" dirty="0">
                <a:solidFill>
                  <a:prstClr val="black"/>
                </a:solidFill>
              </a:rPr>
              <a:t>international freight border crossings </a:t>
            </a:r>
            <a:endParaRPr lang="en-US" sz="2000" b="1" dirty="0" smtClean="0">
              <a:solidFill>
                <a:prstClr val="black"/>
              </a:solidFill>
            </a:endParaRPr>
          </a:p>
          <a:p>
            <a:pPr>
              <a:buClr>
                <a:srgbClr val="0A1B2B"/>
              </a:buClr>
              <a:defRPr/>
            </a:pPr>
            <a:endParaRPr lang="en-US" sz="2000" b="1" dirty="0">
              <a:solidFill>
                <a:prstClr val="black"/>
              </a:solidFill>
            </a:endParaRPr>
          </a:p>
          <a:p>
            <a:pPr marL="230188" lvl="1">
              <a:buClr>
                <a:srgbClr val="0A1B2B"/>
              </a:buClr>
              <a:buFont typeface="Wingdings" pitchFamily="2" charset="2"/>
              <a:buChar char="§"/>
              <a:defRPr/>
            </a:pPr>
            <a:r>
              <a:rPr lang="en-US" b="1" dirty="0" smtClean="0">
                <a:solidFill>
                  <a:prstClr val="black"/>
                </a:solidFill>
              </a:rPr>
              <a:t>Work </a:t>
            </a:r>
            <a:r>
              <a:rPr lang="en-US" b="1" dirty="0">
                <a:solidFill>
                  <a:prstClr val="black"/>
                </a:solidFill>
              </a:rPr>
              <a:t>with federal, state, local, and private sector to facilitate and incorporate </a:t>
            </a:r>
            <a:r>
              <a:rPr lang="en-US" b="1" dirty="0" smtClean="0">
                <a:solidFill>
                  <a:prstClr val="black"/>
                </a:solidFill>
              </a:rPr>
              <a:t>proven technology-based </a:t>
            </a:r>
            <a:r>
              <a:rPr lang="en-US" b="1" dirty="0">
                <a:solidFill>
                  <a:prstClr val="black"/>
                </a:solidFill>
              </a:rPr>
              <a:t>solutions for international freight border </a:t>
            </a:r>
            <a:r>
              <a:rPr lang="en-US" b="1" dirty="0" smtClean="0">
                <a:solidFill>
                  <a:prstClr val="black"/>
                </a:solidFill>
              </a:rPr>
              <a:t>crossings</a:t>
            </a:r>
          </a:p>
          <a:p>
            <a:pPr lvl="1">
              <a:buClr>
                <a:srgbClr val="0A1B2B"/>
              </a:buClr>
              <a:buFont typeface="Wingdings" panose="05000000000000000000" pitchFamily="2" charset="2"/>
              <a:buChar char="§"/>
              <a:defRPr/>
            </a:pPr>
            <a:r>
              <a:rPr lang="en-US" dirty="0">
                <a:solidFill>
                  <a:prstClr val="black"/>
                </a:solidFill>
              </a:rPr>
              <a:t>Maintain security while increasing trade throughput</a:t>
            </a:r>
          </a:p>
          <a:p>
            <a:pPr lvl="1">
              <a:buClr>
                <a:srgbClr val="0A1B2B"/>
              </a:buCl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prstClr val="black"/>
                </a:solidFill>
              </a:rPr>
              <a:t>Implement advanced </a:t>
            </a:r>
            <a:r>
              <a:rPr lang="en-US" dirty="0">
                <a:solidFill>
                  <a:prstClr val="black"/>
                </a:solidFill>
              </a:rPr>
              <a:t>ITS for border trade commercial shipments</a:t>
            </a:r>
          </a:p>
          <a:p>
            <a:pPr lvl="1">
              <a:buClr>
                <a:srgbClr val="0A1B2B"/>
              </a:buCl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prstClr val="black"/>
                </a:solidFill>
              </a:rPr>
              <a:t>Implement </a:t>
            </a:r>
            <a:r>
              <a:rPr lang="en-US" dirty="0">
                <a:solidFill>
                  <a:prstClr val="black"/>
                </a:solidFill>
              </a:rPr>
              <a:t>a CMV Safety Data Exchange </a:t>
            </a:r>
            <a:endParaRPr lang="en-US" dirty="0" smtClean="0">
              <a:solidFill>
                <a:prstClr val="black"/>
              </a:solidFill>
            </a:endParaRPr>
          </a:p>
          <a:p>
            <a:pPr lvl="1">
              <a:buClr>
                <a:srgbClr val="0A1B2B"/>
              </a:buCl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prstClr val="black"/>
                </a:solidFill>
              </a:rPr>
              <a:t>Increase </a:t>
            </a:r>
            <a:r>
              <a:rPr lang="en-US" dirty="0">
                <a:solidFill>
                  <a:prstClr val="black"/>
                </a:solidFill>
              </a:rPr>
              <a:t>the ROI for Commercial Security </a:t>
            </a:r>
            <a:r>
              <a:rPr lang="en-US" dirty="0" smtClean="0">
                <a:solidFill>
                  <a:prstClr val="black"/>
                </a:solidFill>
              </a:rPr>
              <a:t>investments</a:t>
            </a:r>
          </a:p>
          <a:p>
            <a:pPr lvl="1">
              <a:buClr>
                <a:srgbClr val="0A1B2B"/>
              </a:buCl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prstClr val="black"/>
                </a:solidFill>
              </a:rPr>
              <a:t>Increase </a:t>
            </a:r>
            <a:r>
              <a:rPr lang="en-US" dirty="0">
                <a:solidFill>
                  <a:prstClr val="black"/>
                </a:solidFill>
              </a:rPr>
              <a:t>use of Electronic Credentialing</a:t>
            </a:r>
          </a:p>
          <a:p>
            <a:pPr lvl="1">
              <a:buClr>
                <a:srgbClr val="0A1B2B"/>
              </a:buClr>
              <a:buFont typeface="Wingdings" panose="05000000000000000000" pitchFamily="2" charset="2"/>
              <a:buChar char="§"/>
              <a:defRPr/>
            </a:pPr>
            <a:r>
              <a:rPr lang="en-US" dirty="0">
                <a:solidFill>
                  <a:prstClr val="black"/>
                </a:solidFill>
              </a:rPr>
              <a:t>Establish Virtual Weigh Stations at appropriate locations</a:t>
            </a:r>
          </a:p>
          <a:p>
            <a:pPr lvl="1">
              <a:buClr>
                <a:srgbClr val="0A1B2B"/>
              </a:buClr>
              <a:buFont typeface="Wingdings" panose="05000000000000000000" pitchFamily="2" charset="2"/>
              <a:buChar char="§"/>
              <a:defRPr/>
            </a:pP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3012" name="Title 6"/>
          <p:cNvSpPr txBox="1">
            <a:spLocks/>
          </p:cNvSpPr>
          <p:nvPr/>
        </p:nvSpPr>
        <p:spPr bwMode="auto">
          <a:xfrm>
            <a:off x="152400" y="38176"/>
            <a:ext cx="897134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anchor="ctr">
            <a:spAutoFit/>
          </a:bodyPr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•"/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–"/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»"/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None/>
            </a:pPr>
            <a:r>
              <a:rPr lang="en-US" altLang="en-US" b="1" dirty="0" smtClean="0">
                <a:solidFill>
                  <a:schemeClr val="bg1"/>
                </a:solidFill>
                <a:latin typeface="Franklin Gothic Demi" pitchFamily="34" charset="0"/>
                <a:cs typeface="Arial" pitchFamily="34" charset="0"/>
              </a:rPr>
              <a:t>Freight Plan – Program Recommendations—Border</a:t>
            </a:r>
            <a:endParaRPr lang="en-US" altLang="en-US" b="1" dirty="0">
              <a:solidFill>
                <a:schemeClr val="bg1"/>
              </a:solidFill>
              <a:latin typeface="Franklin Gothic Demi" pitchFamily="34" charset="0"/>
              <a:cs typeface="Arial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1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2" descr="C:\Users\CMAYS\AppData\Local\Microsoft\Windows\Temporary Internet Files\Content.Outlook\MHW5CNC5\Approach road to Colombia Bridge RFID readers on sign gantr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4190" y="5791200"/>
            <a:ext cx="2458661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http://www.prlog.org/11091320-freightaccess-fedex-freight-cargo-ltl-shipping-air-freight-pilot-loading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906" y="5791200"/>
            <a:ext cx="251149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8" descr="http://ts2.mm.bing.net/th?id=I.4883047886684421&amp;pid=1.7&amp;w=213&amp;h=145&amp;c=7&amp;rs=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" y="5791200"/>
            <a:ext cx="2139990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http://ts3.mm.bing.net/th?id=I.5059197377249886&amp;pid=1.7&amp;w=192&amp;h=136&amp;c=7&amp;rs=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396" y="5791200"/>
            <a:ext cx="2056995" cy="106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7259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04800" y="76200"/>
            <a:ext cx="8353425" cy="4616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0" kern="1200" dirty="0" smtClean="0">
                <a:solidFill>
                  <a:schemeClr val="bg1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z="2800" b="1" dirty="0" smtClean="0"/>
              <a:t>Summary</a:t>
            </a:r>
            <a:endParaRPr sz="2800" b="1" dirty="0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" y="685801"/>
            <a:ext cx="9141246" cy="4724400"/>
          </a:xfrm>
          <a:prstGeom prst="rect">
            <a:avLst/>
          </a:prstGeom>
          <a:solidFill>
            <a:srgbClr val="002060"/>
          </a:solidFill>
        </p:spPr>
        <p:txBody>
          <a:bodyPr>
            <a:noAutofit/>
          </a:bodyPr>
          <a:lstStyle>
            <a:lvl1pPr marL="230188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Texas </a:t>
            </a:r>
            <a:r>
              <a:rPr lang="en-US" dirty="0" smtClean="0">
                <a:solidFill>
                  <a:schemeClr val="bg1"/>
                </a:solidFill>
              </a:rPr>
              <a:t>will continue </a:t>
            </a:r>
            <a:r>
              <a:rPr lang="en-US" dirty="0">
                <a:solidFill>
                  <a:schemeClr val="bg1"/>
                </a:solidFill>
              </a:rPr>
              <a:t>to be an important player in U.S. international trade, serving as the main gateway for trade with </a:t>
            </a:r>
            <a:r>
              <a:rPr lang="en-US" dirty="0" smtClean="0">
                <a:solidFill>
                  <a:schemeClr val="bg1"/>
                </a:solidFill>
              </a:rPr>
              <a:t>Mexico</a:t>
            </a:r>
          </a:p>
          <a:p>
            <a:pPr>
              <a:buClr>
                <a:schemeClr val="bg1"/>
              </a:buClr>
            </a:pPr>
            <a:endParaRPr lang="en-US" dirty="0" smtClean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dirty="0">
                <a:solidFill>
                  <a:schemeClr val="bg1"/>
                </a:solidFill>
              </a:rPr>
              <a:t>Addressing Border Transportation Challenges will require a comprehensive and coordinated </a:t>
            </a:r>
            <a:r>
              <a:rPr lang="en-US" dirty="0" smtClean="0">
                <a:solidFill>
                  <a:schemeClr val="bg1"/>
                </a:solidFill>
              </a:rPr>
              <a:t>strategy</a:t>
            </a: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Trucks </a:t>
            </a:r>
            <a:r>
              <a:rPr lang="en-US" dirty="0">
                <a:solidFill>
                  <a:schemeClr val="bg1"/>
                </a:solidFill>
              </a:rPr>
              <a:t>will continue to dominate mode of trade </a:t>
            </a:r>
            <a:r>
              <a:rPr lang="en-US" dirty="0" smtClean="0">
                <a:solidFill>
                  <a:schemeClr val="bg1"/>
                </a:solidFill>
              </a:rPr>
              <a:t>movement</a:t>
            </a:r>
          </a:p>
          <a:p>
            <a:pPr marL="0" indent="0">
              <a:buClr>
                <a:schemeClr val="bg1"/>
              </a:buClr>
              <a:buNone/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r>
              <a:rPr lang="en-US" dirty="0" smtClean="0">
                <a:solidFill>
                  <a:schemeClr val="bg1"/>
                </a:solidFill>
              </a:rPr>
              <a:t>Maintaining </a:t>
            </a:r>
            <a:r>
              <a:rPr lang="en-US" dirty="0">
                <a:solidFill>
                  <a:schemeClr val="bg1"/>
                </a:solidFill>
              </a:rPr>
              <a:t>and growing trade relationship with Mexico relies on maintaining adequate capacity and increasing efficiency of the Texas transportation </a:t>
            </a:r>
            <a:r>
              <a:rPr lang="en-US" dirty="0" smtClean="0">
                <a:solidFill>
                  <a:schemeClr val="bg1"/>
                </a:solidFill>
              </a:rPr>
              <a:t>network</a:t>
            </a: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 smtClean="0">
              <a:solidFill>
                <a:schemeClr val="bg1"/>
              </a:solidFill>
            </a:endParaRPr>
          </a:p>
          <a:p>
            <a:pPr>
              <a:buClr>
                <a:schemeClr val="bg1"/>
              </a:buClr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2</a:t>
            </a:fld>
            <a:endParaRPr dirty="0">
              <a:solidFill>
                <a:prstClr val="white"/>
              </a:solidFill>
            </a:endParaRPr>
          </a:p>
        </p:txBody>
      </p:sp>
      <p:pic>
        <p:nvPicPr>
          <p:cNvPr id="9" name="Picture 2" descr="C:\Users\CMAYS\AppData\Local\Microsoft\Windows\Temporary Internet Files\Content.Outlook\MHW5CNC5\Approach road to Colombia Bridge RFID readers on sign gantry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322" y="5675915"/>
            <a:ext cx="2458661" cy="1169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http://www.prlog.org/11091320-freightaccess-fedex-freight-cargo-ltl-shipping-air-freight-pilot-loading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38" y="5675915"/>
            <a:ext cx="2511490" cy="1169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8" descr="http://ts2.mm.bing.net/th?id=I.4883047886684421&amp;pid=1.7&amp;w=213&amp;h=145&amp;c=7&amp;rs=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8" y="5675915"/>
            <a:ext cx="2139990" cy="1169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http://ts3.mm.bing.net/th?id=I.5059197377249886&amp;pid=1.7&amp;w=192&amp;h=136&amp;c=7&amp;rs=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0528" y="5675915"/>
            <a:ext cx="2056995" cy="1169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15284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5153025" y="4381193"/>
            <a:ext cx="3848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rgbClr val="0000FF"/>
                </a:solidFill>
                <a:hlinkClick r:id="rId3"/>
              </a:rPr>
              <a:t>www.MoveTexasFreight.com</a:t>
            </a:r>
            <a:endParaRPr lang="en-US" sz="2000" b="1" dirty="0" smtClean="0">
              <a:solidFill>
                <a:srgbClr val="0000FF"/>
              </a:solidFill>
            </a:endParaRP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864602" y="6578601"/>
            <a:ext cx="211057" cy="187508"/>
          </a:xfrm>
        </p:spPr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835918" y="1509593"/>
            <a:ext cx="3193503" cy="83099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sz="4800" dirty="0" smtClean="0">
                <a:latin typeface="Franklin Gothic Demi" panose="020B0703020102020204" pitchFamily="34" charset="0"/>
              </a:rPr>
              <a:t>Questions?</a:t>
            </a:r>
          </a:p>
        </p:txBody>
      </p:sp>
      <p:pic>
        <p:nvPicPr>
          <p:cNvPr id="5" name="Picture 2" descr="C:\Users\CMAYS\AppData\Local\Microsoft\Windows\Temporary Internet Files\Content.Outlook\MHW5CNC5\mobility-plan-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7677" y="5140396"/>
            <a:ext cx="2352675" cy="1097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C:\Users\CMAYS\AppData\Local\Microsoft\Windows\Temporary Internet Files\Content.Outlook\MHW5CNC5\freight-advisory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5126" y="5140396"/>
            <a:ext cx="2428874" cy="109728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Subtitle 2"/>
          <p:cNvSpPr txBox="1">
            <a:spLocks/>
          </p:cNvSpPr>
          <p:nvPr/>
        </p:nvSpPr>
        <p:spPr>
          <a:xfrm>
            <a:off x="91180" y="3032043"/>
            <a:ext cx="4557020" cy="2651760"/>
          </a:xfrm>
          <a:prstGeom prst="rect">
            <a:avLst/>
          </a:prstGeom>
        </p:spPr>
        <p:txBody>
          <a:bodyPr>
            <a:noAutofit/>
          </a:bodyPr>
          <a:lstStyle>
            <a:lvl1pPr marL="230188" indent="-2301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oline Mays, AICP</a:t>
            </a:r>
          </a:p>
          <a:p>
            <a:pPr marL="0" indent="0">
              <a:buNone/>
            </a:pPr>
            <a:r>
              <a:rPr lang="en-US" sz="1600" smtClean="0"/>
              <a:t>Director</a:t>
            </a:r>
            <a:r>
              <a:rPr lang="en-US" sz="1600" dirty="0" smtClean="0"/>
              <a:t>, Freight and International Trade Section</a:t>
            </a:r>
          </a:p>
          <a:p>
            <a:pPr marL="0" indent="0">
              <a:buNone/>
            </a:pPr>
            <a:r>
              <a:rPr lang="en-US" sz="1600" dirty="0" smtClean="0"/>
              <a:t>(O) 512-486-5059</a:t>
            </a:r>
          </a:p>
          <a:p>
            <a:pPr marL="0" indent="0">
              <a:buNone/>
            </a:pPr>
            <a:r>
              <a:rPr lang="en-US" sz="1600" dirty="0" smtClean="0"/>
              <a:t>(C) 512-658-2436</a:t>
            </a:r>
          </a:p>
          <a:p>
            <a:pPr marL="0" indent="0">
              <a:buNone/>
            </a:pPr>
            <a:r>
              <a:rPr lang="en-US" sz="1600" dirty="0" smtClean="0"/>
              <a:t>Caroline.mays@txdot.gov</a:t>
            </a:r>
          </a:p>
          <a:p>
            <a:pPr marL="0" indent="0">
              <a:buNone/>
            </a:pPr>
            <a:endParaRPr lang="en-US" sz="1600" b="1" dirty="0" smtClean="0"/>
          </a:p>
        </p:txBody>
      </p:sp>
    </p:spTree>
    <p:extLst>
      <p:ext uri="{BB962C8B-B14F-4D97-AF65-F5344CB8AC3E}">
        <p14:creationId xmlns:p14="http://schemas.microsoft.com/office/powerpoint/2010/main" val="845931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686800" cy="461665"/>
          </a:xfrm>
        </p:spPr>
        <p:txBody>
          <a:bodyPr/>
          <a:lstStyle/>
          <a:p>
            <a:r>
              <a:rPr lang="en-US" dirty="0" smtClean="0"/>
              <a:t>Texas-Mexico Rail and Truck </a:t>
            </a:r>
            <a:r>
              <a:rPr lang="en-US" dirty="0"/>
              <a:t>Border </a:t>
            </a:r>
            <a:r>
              <a:rPr lang="en-US" dirty="0" smtClean="0"/>
              <a:t>Crossings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9067800" cy="5562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536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9631785"/>
              </p:ext>
            </p:extLst>
          </p:nvPr>
        </p:nvGraphicFramePr>
        <p:xfrm>
          <a:off x="152400" y="762003"/>
          <a:ext cx="8839200" cy="541019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098601"/>
                <a:gridCol w="2741462"/>
                <a:gridCol w="2177043"/>
                <a:gridCol w="2822094"/>
              </a:tblGrid>
              <a:tr h="802608">
                <a:tc>
                  <a:txBody>
                    <a:bodyPr/>
                    <a:lstStyle/>
                    <a:p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Ranking 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0" noProof="0" dirty="0" smtClean="0">
                          <a:latin typeface="Franklin Gothic Book" pitchFamily="34" charset="0"/>
                        </a:rPr>
                        <a:t>Country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0" noProof="0" dirty="0" smtClean="0">
                          <a:latin typeface="Franklin Gothic Book" pitchFamily="34" charset="0"/>
                        </a:rPr>
                        <a:t>Dollar Amount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0" noProof="0" dirty="0" smtClean="0">
                          <a:latin typeface="Franklin Gothic Book" pitchFamily="34" charset="0"/>
                        </a:rPr>
                        <a:t>% Share of Exports 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</a:tr>
              <a:tr h="921518">
                <a:tc>
                  <a:txBody>
                    <a:bodyPr/>
                    <a:lstStyle/>
                    <a:p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1</a:t>
                      </a: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 noProof="0" dirty="0" smtClean="0">
                          <a:latin typeface="Franklin Gothic Book" pitchFamily="34" charset="0"/>
                          <a:cs typeface="Arial" pitchFamily="34" charset="0"/>
                        </a:rPr>
                        <a:t>Mexico</a:t>
                      </a:r>
                      <a:endParaRPr lang="fr-FR" sz="1600" b="1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$ 94,456,000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+mn-cs"/>
                        </a:rPr>
                        <a:t>35.7%</a:t>
                      </a:r>
                    </a:p>
                  </a:txBody>
                  <a:tcPr marR="45720" anchor="ctr"/>
                </a:tc>
              </a:tr>
              <a:tr h="921518">
                <a:tc>
                  <a:txBody>
                    <a:bodyPr/>
                    <a:lstStyle/>
                    <a:p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2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 noProof="0" dirty="0" smtClean="0">
                          <a:latin typeface="Franklin Gothic Book" pitchFamily="34" charset="0"/>
                          <a:cs typeface="Arial" pitchFamily="34" charset="0"/>
                        </a:rPr>
                        <a:t>Canada</a:t>
                      </a:r>
                      <a:endParaRPr lang="fr-FR" sz="1600" b="1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$ 23,853,000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+mn-cs"/>
                        </a:rPr>
                        <a:t>9.0%</a:t>
                      </a:r>
                    </a:p>
                  </a:txBody>
                  <a:tcPr marR="45720" anchor="ctr"/>
                </a:tc>
              </a:tr>
              <a:tr h="921518">
                <a:tc>
                  <a:txBody>
                    <a:bodyPr/>
                    <a:lstStyle/>
                    <a:p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3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 noProof="0" dirty="0" smtClean="0">
                          <a:latin typeface="Franklin Gothic Book" pitchFamily="34" charset="0"/>
                          <a:cs typeface="Arial" pitchFamily="34" charset="0"/>
                        </a:rPr>
                        <a:t>China</a:t>
                      </a:r>
                      <a:endParaRPr lang="fr-FR" sz="1600" b="1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$ 10,306,000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+mn-cs"/>
                        </a:rPr>
                        <a:t>3.9%</a:t>
                      </a:r>
                    </a:p>
                  </a:txBody>
                  <a:tcPr marR="45720" anchor="ctr"/>
                </a:tc>
              </a:tr>
              <a:tr h="921518">
                <a:tc>
                  <a:txBody>
                    <a:bodyPr/>
                    <a:lstStyle/>
                    <a:p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4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 noProof="0" dirty="0" smtClean="0">
                          <a:latin typeface="Franklin Gothic Book" pitchFamily="34" charset="0"/>
                          <a:cs typeface="Arial" pitchFamily="34" charset="0"/>
                        </a:rPr>
                        <a:t>Brazil</a:t>
                      </a:r>
                      <a:endParaRPr lang="fr-FR" sz="1600" b="1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$ 10,036,000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+mn-cs"/>
                        </a:rPr>
                        <a:t>3.8%</a:t>
                      </a:r>
                    </a:p>
                  </a:txBody>
                  <a:tcPr marR="45720" anchor="ctr"/>
                </a:tc>
              </a:tr>
              <a:tr h="921518">
                <a:tc>
                  <a:txBody>
                    <a:bodyPr/>
                    <a:lstStyle/>
                    <a:p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5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1" noProof="0" dirty="0" smtClean="0">
                          <a:latin typeface="Franklin Gothic Book" pitchFamily="34" charset="0"/>
                          <a:cs typeface="Arial" pitchFamily="34" charset="0"/>
                        </a:rPr>
                        <a:t>Netherlands</a:t>
                      </a:r>
                      <a:endParaRPr lang="fr-FR" sz="1600" b="1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fr-FR" sz="1600" b="0" noProof="0" dirty="0" smtClean="0">
                          <a:latin typeface="Franklin Gothic Book" pitchFamily="34" charset="0"/>
                          <a:cs typeface="Arial" pitchFamily="34" charset="0"/>
                        </a:rPr>
                        <a:t>$ 9,612,000</a:t>
                      </a:r>
                      <a:endParaRPr lang="fr-FR" sz="1600" b="0" noProof="0" dirty="0">
                        <a:latin typeface="Franklin Gothic Book" pitchFamily="34" charset="0"/>
                        <a:cs typeface="Arial" pitchFamily="34" charset="0"/>
                      </a:endParaRPr>
                    </a:p>
                  </a:txBody>
                  <a:tcPr marR="4572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Franklin Gothic Book" pitchFamily="34" charset="0"/>
                          <a:ea typeface="+mn-ea"/>
                          <a:cs typeface="+mn-cs"/>
                        </a:rPr>
                        <a:t>3.6%</a:t>
                      </a:r>
                    </a:p>
                  </a:txBody>
                  <a:tcPr marR="45720" anchor="ctr"/>
                </a:tc>
              </a:tr>
            </a:tbl>
          </a:graphicData>
        </a:graphic>
      </p:graphicFrame>
      <p:pic>
        <p:nvPicPr>
          <p:cNvPr id="1515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2352" y="1716949"/>
            <a:ext cx="1009650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55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2352" y="2414155"/>
            <a:ext cx="1010412" cy="590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556" name="Picture 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401806" y="3113859"/>
            <a:ext cx="1010195" cy="609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557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089" y="3768633"/>
            <a:ext cx="10287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1558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4529" y="4493622"/>
            <a:ext cx="1007471" cy="643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304800" y="76200"/>
            <a:ext cx="8353425" cy="461665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0" kern="1200" dirty="0" smtClean="0">
                <a:solidFill>
                  <a:schemeClr val="bg1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z="2800" dirty="0" smtClean="0"/>
              <a:t>Why is the Texas –Mexico Border Important?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2602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523220"/>
          </a:xfrm>
        </p:spPr>
        <p:txBody>
          <a:bodyPr/>
          <a:lstStyle/>
          <a:p>
            <a:r>
              <a:rPr lang="en-US" altLang="en-US" sz="2800" dirty="0" smtClean="0"/>
              <a:t>US-Mexico Value of Trade – 2005-2015</a:t>
            </a:r>
            <a:endParaRPr lang="en-US" altLang="en-US" sz="2800" dirty="0"/>
          </a:p>
        </p:txBody>
      </p:sp>
      <p:sp>
        <p:nvSpPr>
          <p:cNvPr id="5122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5761038" y="6411913"/>
            <a:ext cx="2895600" cy="365125"/>
          </a:xfrm>
        </p:spPr>
        <p:txBody>
          <a:bodyPr/>
          <a:lstStyle/>
          <a:p>
            <a:pPr>
              <a:defRPr/>
            </a:pPr>
            <a:endParaRPr lang="en-US" b="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8458" y="5703425"/>
            <a:ext cx="8886942" cy="461665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r>
              <a:rPr lang="en-US" sz="2400" b="1" dirty="0" smtClean="0">
                <a:solidFill>
                  <a:schemeClr val="bg1"/>
                </a:solidFill>
                <a:latin typeface="Franklin Gothic Book" panose="020B0503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de with Mexico is a Major Part of the Texas Economy</a:t>
            </a:r>
            <a:endParaRPr lang="en-US" sz="2400" b="1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458" y="649147"/>
            <a:ext cx="9115542" cy="502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9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76200"/>
            <a:ext cx="8839200" cy="523220"/>
          </a:xfrm>
        </p:spPr>
        <p:txBody>
          <a:bodyPr/>
          <a:lstStyle/>
          <a:p>
            <a:r>
              <a:rPr lang="en-US" sz="2800" dirty="0" smtClean="0"/>
              <a:t>Economic Importance of the Texas-México Border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28016" y="2286000"/>
            <a:ext cx="4191000" cy="378565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457200" lvl="0" indent="-4572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prstClr val="black"/>
                </a:solidFill>
              </a:rPr>
              <a:t>Mexico is Texas’ #1 trading partner with almost $196 billion, or 35.7% of total U.S.-Mexico trade</a:t>
            </a:r>
          </a:p>
          <a:p>
            <a:pPr marL="342900" lvl="0" indent="-342900">
              <a:buFont typeface="Wingdings" panose="05000000000000000000" pitchFamily="2" charset="2"/>
              <a:buChar char="§"/>
            </a:pPr>
            <a:endParaRPr lang="en-US" sz="2400" dirty="0" smtClean="0">
              <a:solidFill>
                <a:prstClr val="black"/>
              </a:solidFill>
            </a:endParaRPr>
          </a:p>
          <a:p>
            <a:pPr marL="457200" lvl="0" indent="-4572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prstClr val="black"/>
                </a:solidFill>
              </a:rPr>
              <a:t>74.4% of trade comes trough Texas POEs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prstClr val="black"/>
                </a:solidFill>
              </a:rPr>
              <a:t>80.5% by truck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r>
              <a:rPr lang="en-US" sz="2400" dirty="0" smtClean="0">
                <a:solidFill>
                  <a:prstClr val="black"/>
                </a:solidFill>
              </a:rPr>
              <a:t>19.5 by rail </a:t>
            </a:r>
          </a:p>
          <a:p>
            <a:pPr marL="914400" lvl="1" indent="-457200">
              <a:buFont typeface="Wingdings" panose="05000000000000000000" pitchFamily="2" charset="2"/>
              <a:buChar char="§"/>
            </a:pPr>
            <a:endParaRPr lang="en-US" sz="24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48200" y="932128"/>
            <a:ext cx="4419600" cy="526297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Total US – Mexico trade  was $ 507 billion of which $ 245 billion (imports/exports) moved through Texas Border POEs by truck</a:t>
            </a:r>
          </a:p>
          <a:p>
            <a:pPr marL="342900" lvl="0" indent="-342900">
              <a:buFont typeface="Wingdings" panose="05000000000000000000" pitchFamily="2" charset="2"/>
              <a:buChar char="§"/>
            </a:pPr>
            <a:endParaRPr lang="en-US" sz="2400" dirty="0" smtClean="0">
              <a:solidFill>
                <a:prstClr val="black"/>
              </a:solidFill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74% ($245 billion) of US-Mexico trade moves through Texas </a:t>
            </a:r>
            <a:r>
              <a:rPr lang="en-US" sz="2400" dirty="0" smtClean="0"/>
              <a:t>Ports-of-Entri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US" sz="2400" dirty="0" smtClean="0"/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US" sz="2400" dirty="0"/>
              <a:t>Mexico is Texas’ largest export market with $100.9 billion or 36% of Texas’ total goods </a:t>
            </a:r>
            <a:r>
              <a:rPr lang="en-US" sz="2400" dirty="0" smtClean="0"/>
              <a:t>exports</a:t>
            </a:r>
            <a:endParaRPr lang="en-US" sz="2400" dirty="0"/>
          </a:p>
        </p:txBody>
      </p:sp>
      <p:pic>
        <p:nvPicPr>
          <p:cNvPr id="12" name="Picture 4" descr="http://tse1.mm.bing.net/th?&amp;id=OIP.M4b35ba82cbd5733bc072c4f49180beb2H0&amp;w=300&amp;h=300&amp;c=0&amp;pid=1.9&amp;rs=0&amp;p=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25" y="679704"/>
            <a:ext cx="1588698" cy="996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0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299" y="57149"/>
            <a:ext cx="8953501" cy="523220"/>
          </a:xfrm>
        </p:spPr>
        <p:txBody>
          <a:bodyPr/>
          <a:lstStyle/>
          <a:p>
            <a:r>
              <a:rPr lang="en-US" sz="2800" dirty="0"/>
              <a:t>National Impact of </a:t>
            </a:r>
            <a:r>
              <a:rPr lang="en-US" sz="2800" dirty="0" smtClean="0"/>
              <a:t>Texas-Mexico Border - Laredo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52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9124"/>
            <a:ext cx="9143998" cy="623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8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99" y="856298"/>
            <a:ext cx="9029699" cy="6029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8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047749"/>
            <a:ext cx="8610600" cy="5810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82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6800" y="1244917"/>
            <a:ext cx="7924801" cy="5613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83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7959" y="1423032"/>
            <a:ext cx="7483642" cy="5434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6209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25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25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25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258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525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525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5258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525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25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5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525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525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25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76201"/>
            <a:ext cx="8839200" cy="609600"/>
          </a:xfrm>
        </p:spPr>
        <p:txBody>
          <a:bodyPr/>
          <a:lstStyle/>
          <a:p>
            <a:r>
              <a:rPr lang="en-US" sz="2800" dirty="0" smtClean="0"/>
              <a:t>Texas-Mexico Northbound Truck Crossings – 2005-2015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1821528"/>
              </p:ext>
            </p:extLst>
          </p:nvPr>
        </p:nvGraphicFramePr>
        <p:xfrm>
          <a:off x="148590" y="815340"/>
          <a:ext cx="8846820" cy="5356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47699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/>
          </p:cNvSpPr>
          <p:nvPr>
            <p:ph type="title" idx="4294967295"/>
          </p:nvPr>
        </p:nvSpPr>
        <p:spPr>
          <a:xfrm>
            <a:off x="0" y="17463"/>
            <a:ext cx="9144000" cy="584775"/>
          </a:xfrm>
        </p:spPr>
        <p:txBody>
          <a:bodyPr/>
          <a:lstStyle/>
          <a:p>
            <a:r>
              <a:rPr lang="en-US" altLang="en-US" sz="3200" b="1" dirty="0" smtClean="0"/>
              <a:t>Train Crossings at Texas Border</a:t>
            </a:r>
          </a:p>
        </p:txBody>
      </p:sp>
      <p:sp>
        <p:nvSpPr>
          <p:cNvPr id="12291" name="Rectangle 1"/>
          <p:cNvSpPr>
            <a:spLocks noChangeArrowheads="1"/>
          </p:cNvSpPr>
          <p:nvPr/>
        </p:nvSpPr>
        <p:spPr bwMode="auto">
          <a:xfrm>
            <a:off x="76200" y="5949950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Tahoma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n-US" altLang="en-US" sz="900" dirty="0"/>
              <a:t>Source:  U.S. Department of Transportation, Research and </a:t>
            </a:r>
            <a:r>
              <a:rPr lang="en-US" altLang="en-US" sz="900" dirty="0" smtClean="0"/>
              <a:t>Innovative </a:t>
            </a:r>
            <a:r>
              <a:rPr lang="en-US" altLang="en-US" sz="900" dirty="0"/>
              <a:t>Technology Administration, Bureau of Transportation Statistics, Border Crossing/Entry Data</a:t>
            </a:r>
          </a:p>
        </p:txBody>
      </p:sp>
      <p:pic>
        <p:nvPicPr>
          <p:cNvPr id="12292" name="Chart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633413"/>
            <a:ext cx="8953500" cy="5319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2957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_STANDARD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_STANDARD</Template>
  <TotalTime>765</TotalTime>
  <Words>1378</Words>
  <Application>Microsoft Office PowerPoint</Application>
  <PresentationFormat>On-screen Show (4:3)</PresentationFormat>
  <Paragraphs>197</Paragraphs>
  <Slides>23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MASTER_powerpoint_template_STANDARD</vt:lpstr>
      <vt:lpstr>think-cell Slide</vt:lpstr>
      <vt:lpstr>Freight and international trade on the Texas-Mexico Border - challenges and opportunities</vt:lpstr>
      <vt:lpstr>Overview of Texas-México Border Crossings – 28 Crossings</vt:lpstr>
      <vt:lpstr>Texas-Mexico Rail and Truck Border Crossings </vt:lpstr>
      <vt:lpstr>PowerPoint Presentation</vt:lpstr>
      <vt:lpstr>US-Mexico Value of Trade – 2005-2015</vt:lpstr>
      <vt:lpstr>Economic Importance of the Texas-México Border</vt:lpstr>
      <vt:lpstr>National Impact of Texas-Mexico Border - Laredo</vt:lpstr>
      <vt:lpstr>Texas-Mexico Northbound Truck Crossings – 2005-2015</vt:lpstr>
      <vt:lpstr>Train Crossings at Texas Border</vt:lpstr>
      <vt:lpstr>Where does the Rail Traffic “Flow” in Texas?</vt:lpstr>
      <vt:lpstr>Texas Border-Crossing Freight Tonnage 2010 and 2040 </vt:lpstr>
      <vt:lpstr>Texas-mexico border challenges</vt:lpstr>
      <vt:lpstr>Texas-Mexico Truck Border Crossing Forecasts 2010 - 2040</vt:lpstr>
      <vt:lpstr>Growing Congestion:  Highway Freight Tonnage, 2010 to 2040</vt:lpstr>
      <vt:lpstr>Key Texas Border Transportation Challenges</vt:lpstr>
      <vt:lpstr>PowerPoint Presentation</vt:lpstr>
      <vt:lpstr>PowerPoint Presentation</vt:lpstr>
      <vt:lpstr>Texas-mexico border – Addressing the Challenges</vt:lpstr>
      <vt:lpstr>Freight Plan Policy Recommendations - Border </vt:lpstr>
      <vt:lpstr>PowerPoint Presentation</vt:lpstr>
      <vt:lpstr>PowerPoint Presentation</vt:lpstr>
      <vt:lpstr>PowerPoint Presentation</vt:lpstr>
      <vt:lpstr>PowerPoint Presentation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xas freight mobility plan</dc:title>
  <dc:creator>Caroline Mays</dc:creator>
  <cp:lastModifiedBy>Caroline Mays</cp:lastModifiedBy>
  <cp:revision>55</cp:revision>
  <cp:lastPrinted>2016-08-24T16:11:57Z</cp:lastPrinted>
  <dcterms:created xsi:type="dcterms:W3CDTF">2016-03-17T20:49:15Z</dcterms:created>
  <dcterms:modified xsi:type="dcterms:W3CDTF">2016-08-24T16:15:24Z</dcterms:modified>
</cp:coreProperties>
</file>